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Override1.xml" ContentType="application/vnd.openxmlformats-officedocument.themeOverrid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Override2.xml" ContentType="application/vnd.openxmlformats-officedocument.themeOverrid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Override3.xml" ContentType="application/vnd.openxmlformats-officedocument.themeOverrid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 bookmarkIdSeed="2">
  <p:sldMasterIdLst>
    <p:sldMasterId id="2147483788" r:id="rId4"/>
    <p:sldMasterId id="2147483813" r:id="rId5"/>
    <p:sldMasterId id="2147483838" r:id="rId6"/>
  </p:sldMasterIdLst>
  <p:notesMasterIdLst>
    <p:notesMasterId r:id="rId40"/>
  </p:notesMasterIdLst>
  <p:handoutMasterIdLst>
    <p:handoutMasterId r:id="rId41"/>
  </p:handoutMasterIdLst>
  <p:sldIdLst>
    <p:sldId id="480" r:id="rId7"/>
    <p:sldId id="477" r:id="rId8"/>
    <p:sldId id="400" r:id="rId9"/>
    <p:sldId id="471" r:id="rId10"/>
    <p:sldId id="401" r:id="rId11"/>
    <p:sldId id="413" r:id="rId12"/>
    <p:sldId id="472" r:id="rId13"/>
    <p:sldId id="495" r:id="rId14"/>
    <p:sldId id="404" r:id="rId15"/>
    <p:sldId id="402" r:id="rId16"/>
    <p:sldId id="403" r:id="rId17"/>
    <p:sldId id="494" r:id="rId18"/>
    <p:sldId id="492" r:id="rId19"/>
    <p:sldId id="493" r:id="rId20"/>
    <p:sldId id="405" r:id="rId21"/>
    <p:sldId id="410" r:id="rId22"/>
    <p:sldId id="452" r:id="rId23"/>
    <p:sldId id="407" r:id="rId24"/>
    <p:sldId id="409" r:id="rId25"/>
    <p:sldId id="414" r:id="rId26"/>
    <p:sldId id="415" r:id="rId27"/>
    <p:sldId id="416" r:id="rId28"/>
    <p:sldId id="417" r:id="rId29"/>
    <p:sldId id="418" r:id="rId30"/>
    <p:sldId id="420" r:id="rId31"/>
    <p:sldId id="426" r:id="rId32"/>
    <p:sldId id="431" r:id="rId33"/>
    <p:sldId id="433" r:id="rId34"/>
    <p:sldId id="434" r:id="rId35"/>
    <p:sldId id="446" r:id="rId36"/>
    <p:sldId id="448" r:id="rId37"/>
    <p:sldId id="489" r:id="rId38"/>
    <p:sldId id="473" r:id="rId39"/>
  </p:sldIdLst>
  <p:sldSz cx="9144000" cy="6858000" type="screen4x3"/>
  <p:notesSz cx="6797675" cy="9926638"/>
  <p:custDataLst>
    <p:tags r:id="rId4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pos="226" userDrawn="1">
          <p15:clr>
            <a:srgbClr val="A4A3A4"/>
          </p15:clr>
        </p15:guide>
        <p15:guide id="12" pos="5511" userDrawn="1">
          <p15:clr>
            <a:srgbClr val="A4A3A4"/>
          </p15:clr>
        </p15:guide>
        <p15:guide id="13" orient="horz" pos="1049" userDrawn="1">
          <p15:clr>
            <a:srgbClr val="A4A3A4"/>
          </p15:clr>
        </p15:guide>
        <p15:guide id="14" orient="horz" pos="4020" userDrawn="1">
          <p15:clr>
            <a:srgbClr val="A4A3A4"/>
          </p15:clr>
        </p15:guide>
        <p15:guide id="15" orient="horz" pos="187" userDrawn="1">
          <p15:clr>
            <a:srgbClr val="A4A3A4"/>
          </p15:clr>
        </p15:guide>
        <p15:guide id="16" orient="horz" pos="86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uchy, Petr (CZ - Prague)" initials="SP(-P" lastIdx="8" clrIdx="0">
    <p:extLst>
      <p:ext uri="{19B8F6BF-5375-455C-9EA6-DF929625EA0E}">
        <p15:presenceInfo xmlns:p15="http://schemas.microsoft.com/office/powerpoint/2012/main" userId="S-1-5-21-2094927150-201071529-617630493-7812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B323"/>
    <a:srgbClr val="000000"/>
    <a:srgbClr val="FFCD00"/>
    <a:srgbClr val="ED8B00"/>
    <a:srgbClr val="DB291C"/>
    <a:srgbClr val="FF9900"/>
    <a:srgbClr val="C00000"/>
    <a:srgbClr val="3C8A2E"/>
    <a:srgbClr val="DCDCDC"/>
    <a:srgbClr val="B4B4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8683" autoAdjust="0"/>
    <p:restoredTop sz="94984" autoAdjust="0"/>
  </p:normalViewPr>
  <p:slideViewPr>
    <p:cSldViewPr snapToGrid="0" showGuides="1">
      <p:cViewPr varScale="1">
        <p:scale>
          <a:sx n="63" d="100"/>
          <a:sy n="63" d="100"/>
        </p:scale>
        <p:origin x="880" y="56"/>
      </p:cViewPr>
      <p:guideLst>
        <p:guide pos="226"/>
        <p:guide pos="5511"/>
        <p:guide orient="horz" pos="1049"/>
        <p:guide orient="horz" pos="4020"/>
        <p:guide orient="horz" pos="187"/>
        <p:guide orient="horz" pos="867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tags" Target="tags/tag1.xml"/><Relationship Id="rId47" Type="http://schemas.openxmlformats.org/officeDocument/2006/relationships/tableStyles" Target="tableStyles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notesMaster" Target="notesMasters/notesMaster1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commentAuthors" Target="commentAuthors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theme" Target="theme/theme1.xml"/><Relationship Id="rId20" Type="http://schemas.openxmlformats.org/officeDocument/2006/relationships/slide" Target="slides/slide14.xml"/><Relationship Id="rId41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7AF0873-654F-4510-AB3A-6BCD089DABC3}" type="doc">
      <dgm:prSet loTypeId="urn:microsoft.com/office/officeart/2005/8/layout/process5" loCatId="process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cs-CZ"/>
        </a:p>
      </dgm:t>
    </dgm:pt>
    <dgm:pt modelId="{828DDA33-30BE-4304-96ED-9AEB1F2D1440}">
      <dgm:prSet phldrT="[Text]"/>
      <dgm:spPr>
        <a:solidFill>
          <a:srgbClr val="92D050"/>
        </a:solidFill>
      </dgm:spPr>
      <dgm:t>
        <a:bodyPr/>
        <a:lstStyle/>
        <a:p>
          <a:r>
            <a:rPr lang="cs-CZ" b="1" dirty="0">
              <a:solidFill>
                <a:schemeClr val="bg1"/>
              </a:solidFill>
            </a:rPr>
            <a:t>Příprava a zahájení procesu</a:t>
          </a:r>
        </a:p>
      </dgm:t>
    </dgm:pt>
    <dgm:pt modelId="{9889BE34-551F-47E7-AC0E-AA0FEE0F020E}" type="parTrans" cxnId="{804E70A9-EA36-491E-B04B-ACF29D2FBDE3}">
      <dgm:prSet/>
      <dgm:spPr/>
      <dgm:t>
        <a:bodyPr/>
        <a:lstStyle/>
        <a:p>
          <a:endParaRPr lang="cs-CZ"/>
        </a:p>
      </dgm:t>
    </dgm:pt>
    <dgm:pt modelId="{E05485B6-08D1-4577-8682-F888C3815FF3}" type="sibTrans" cxnId="{804E70A9-EA36-491E-B04B-ACF29D2FBDE3}">
      <dgm:prSet/>
      <dgm:spPr/>
      <dgm:t>
        <a:bodyPr/>
        <a:lstStyle/>
        <a:p>
          <a:endParaRPr lang="cs-CZ" b="0"/>
        </a:p>
      </dgm:t>
    </dgm:pt>
    <dgm:pt modelId="{47EE3148-0776-456F-9F1A-F35C6A434C88}">
      <dgm:prSet phldrT="[Text]"/>
      <dgm:spPr/>
      <dgm:t>
        <a:bodyPr/>
        <a:lstStyle/>
        <a:p>
          <a:r>
            <a:rPr lang="cs-CZ" b="1" dirty="0" err="1"/>
            <a:t>Due</a:t>
          </a:r>
          <a:r>
            <a:rPr lang="cs-CZ" b="1" dirty="0"/>
            <a:t> Diligence (Data </a:t>
          </a:r>
          <a:r>
            <a:rPr lang="cs-CZ" b="1" dirty="0" err="1"/>
            <a:t>Room</a:t>
          </a:r>
          <a:r>
            <a:rPr lang="cs-CZ" b="1" dirty="0"/>
            <a:t>)</a:t>
          </a:r>
          <a:endParaRPr lang="cs-CZ" b="0" i="1" dirty="0"/>
        </a:p>
      </dgm:t>
    </dgm:pt>
    <dgm:pt modelId="{FD253779-7136-45DA-BE4D-46BB0CC7C935}" type="parTrans" cxnId="{897E43D7-93FE-4C90-9682-63EC0B81F7F6}">
      <dgm:prSet/>
      <dgm:spPr/>
      <dgm:t>
        <a:bodyPr/>
        <a:lstStyle/>
        <a:p>
          <a:endParaRPr lang="cs-CZ"/>
        </a:p>
      </dgm:t>
    </dgm:pt>
    <dgm:pt modelId="{C63C4564-8E39-4EA2-BEBF-D5DE288C243E}" type="sibTrans" cxnId="{897E43D7-93FE-4C90-9682-63EC0B81F7F6}">
      <dgm:prSet/>
      <dgm:spPr/>
      <dgm:t>
        <a:bodyPr/>
        <a:lstStyle/>
        <a:p>
          <a:endParaRPr lang="cs-CZ" b="0"/>
        </a:p>
      </dgm:t>
    </dgm:pt>
    <dgm:pt modelId="{E36F3098-A487-4F3C-9358-D52BB6453AE9}">
      <dgm:prSet phldrT="[Text]"/>
      <dgm:spPr/>
      <dgm:t>
        <a:bodyPr/>
        <a:lstStyle/>
        <a:p>
          <a:r>
            <a:rPr lang="cs-CZ" b="1" dirty="0"/>
            <a:t>Návrh kupní smlouvy (</a:t>
          </a:r>
          <a:r>
            <a:rPr lang="cs-CZ" b="1" dirty="0" err="1"/>
            <a:t>SPA</a:t>
          </a:r>
          <a:r>
            <a:rPr lang="cs-CZ" b="1" dirty="0"/>
            <a:t>)</a:t>
          </a:r>
        </a:p>
      </dgm:t>
    </dgm:pt>
    <dgm:pt modelId="{9696FCA6-6BFA-4740-AE3B-083B50C6A2D7}" type="parTrans" cxnId="{DE37A468-AE50-49A7-BCB3-297A95A94BD3}">
      <dgm:prSet/>
      <dgm:spPr/>
      <dgm:t>
        <a:bodyPr/>
        <a:lstStyle/>
        <a:p>
          <a:endParaRPr lang="cs-CZ"/>
        </a:p>
      </dgm:t>
    </dgm:pt>
    <dgm:pt modelId="{CA084B63-C96F-4D82-BB5B-8CE34F4C5753}" type="sibTrans" cxnId="{DE37A468-AE50-49A7-BCB3-297A95A94BD3}">
      <dgm:prSet/>
      <dgm:spPr/>
      <dgm:t>
        <a:bodyPr/>
        <a:lstStyle/>
        <a:p>
          <a:endParaRPr lang="cs-CZ" b="0"/>
        </a:p>
      </dgm:t>
    </dgm:pt>
    <dgm:pt modelId="{5404560D-1EFB-4624-945D-4DD8989990AA}">
      <dgm:prSet phldrT="[Text]"/>
      <dgm:spPr/>
      <dgm:t>
        <a:bodyPr/>
        <a:lstStyle/>
        <a:p>
          <a:r>
            <a:rPr lang="cs-CZ" b="1" i="0" dirty="0"/>
            <a:t>Vypořádání (</a:t>
          </a:r>
          <a:r>
            <a:rPr lang="cs-CZ" b="1" i="0" dirty="0" err="1"/>
            <a:t>Closing</a:t>
          </a:r>
          <a:r>
            <a:rPr lang="cs-CZ" b="1" i="0" dirty="0"/>
            <a:t>)</a:t>
          </a:r>
        </a:p>
      </dgm:t>
    </dgm:pt>
    <dgm:pt modelId="{A6F9399C-F054-42CD-AF06-B73D12F69D7A}" type="parTrans" cxnId="{637455A0-BCEF-4CC8-AA16-4A2F403EF6B6}">
      <dgm:prSet/>
      <dgm:spPr/>
      <dgm:t>
        <a:bodyPr/>
        <a:lstStyle/>
        <a:p>
          <a:endParaRPr lang="cs-CZ"/>
        </a:p>
      </dgm:t>
    </dgm:pt>
    <dgm:pt modelId="{B3305FBD-2A98-4A5D-9448-5B552679D00A}" type="sibTrans" cxnId="{637455A0-BCEF-4CC8-AA16-4A2F403EF6B6}">
      <dgm:prSet/>
      <dgm:spPr/>
      <dgm:t>
        <a:bodyPr/>
        <a:lstStyle/>
        <a:p>
          <a:endParaRPr lang="cs-CZ" b="0"/>
        </a:p>
      </dgm:t>
    </dgm:pt>
    <dgm:pt modelId="{44BCA2F7-4DFE-40B0-BF36-395295EDAF37}">
      <dgm:prSet phldrT="[Text]"/>
      <dgm:spPr/>
      <dgm:t>
        <a:bodyPr/>
        <a:lstStyle/>
        <a:p>
          <a:r>
            <a:rPr lang="cs-CZ" b="1" i="0" dirty="0"/>
            <a:t>Úpravy ceny / </a:t>
          </a:r>
          <a:r>
            <a:rPr lang="cs-CZ" b="1" i="0" dirty="0" err="1"/>
            <a:t>Closing</a:t>
          </a:r>
          <a:r>
            <a:rPr lang="cs-CZ" b="1" i="0" dirty="0"/>
            <a:t> </a:t>
          </a:r>
          <a:r>
            <a:rPr lang="cs-CZ" b="1" i="0" dirty="0" err="1"/>
            <a:t>Accounts</a:t>
          </a:r>
          <a:endParaRPr lang="cs-CZ" b="1" i="0" dirty="0"/>
        </a:p>
      </dgm:t>
    </dgm:pt>
    <dgm:pt modelId="{234B0C10-ADBC-4532-939F-A8C683BC36CE}" type="parTrans" cxnId="{6D7D6F01-4333-4756-8396-7FC49A3670C0}">
      <dgm:prSet/>
      <dgm:spPr/>
      <dgm:t>
        <a:bodyPr/>
        <a:lstStyle/>
        <a:p>
          <a:endParaRPr lang="cs-CZ"/>
        </a:p>
      </dgm:t>
    </dgm:pt>
    <dgm:pt modelId="{1A483732-DEE2-49AC-8401-AC4547915754}" type="sibTrans" cxnId="{6D7D6F01-4333-4756-8396-7FC49A3670C0}">
      <dgm:prSet/>
      <dgm:spPr/>
      <dgm:t>
        <a:bodyPr/>
        <a:lstStyle/>
        <a:p>
          <a:endParaRPr lang="cs-CZ" b="0"/>
        </a:p>
      </dgm:t>
    </dgm:pt>
    <dgm:pt modelId="{553D5A18-350A-4DE4-801A-BA63244DF558}">
      <dgm:prSet phldrT="[Text]"/>
      <dgm:spPr>
        <a:solidFill>
          <a:srgbClr val="FF0000"/>
        </a:solidFill>
      </dgm:spPr>
      <dgm:t>
        <a:bodyPr/>
        <a:lstStyle/>
        <a:p>
          <a:r>
            <a:rPr lang="cs-CZ" b="1" i="0" dirty="0"/>
            <a:t>Následné podmínky / </a:t>
          </a:r>
          <a:r>
            <a:rPr lang="cs-CZ" b="1" i="0" dirty="0" err="1"/>
            <a:t>CSs</a:t>
          </a:r>
          <a:endParaRPr lang="cs-CZ" b="1" i="0" dirty="0"/>
        </a:p>
      </dgm:t>
    </dgm:pt>
    <dgm:pt modelId="{F04A867C-C9DF-4817-B7C1-5ADA3A0294E9}" type="parTrans" cxnId="{D8A83B5A-B7FD-4E95-96C6-CDEAEE73EBDA}">
      <dgm:prSet/>
      <dgm:spPr/>
      <dgm:t>
        <a:bodyPr/>
        <a:lstStyle/>
        <a:p>
          <a:endParaRPr lang="cs-CZ"/>
        </a:p>
      </dgm:t>
    </dgm:pt>
    <dgm:pt modelId="{A03E3999-B985-4024-BAA2-419DE862652E}" type="sibTrans" cxnId="{D8A83B5A-B7FD-4E95-96C6-CDEAEE73EBDA}">
      <dgm:prSet/>
      <dgm:spPr/>
      <dgm:t>
        <a:bodyPr/>
        <a:lstStyle/>
        <a:p>
          <a:endParaRPr lang="cs-CZ"/>
        </a:p>
      </dgm:t>
    </dgm:pt>
    <dgm:pt modelId="{89CBCCFC-6C22-4178-B8E1-81BF7B748E76}">
      <dgm:prSet/>
      <dgm:spPr/>
      <dgm:t>
        <a:bodyPr/>
        <a:lstStyle/>
        <a:p>
          <a:r>
            <a:rPr lang="cs-CZ" b="1" dirty="0"/>
            <a:t>Vyhledání a oslovení zájemce</a:t>
          </a:r>
        </a:p>
      </dgm:t>
    </dgm:pt>
    <dgm:pt modelId="{A0D5F88D-1DB9-4233-A2EF-82F593464D50}" type="parTrans" cxnId="{B1400948-C942-4F42-BD14-199378937220}">
      <dgm:prSet/>
      <dgm:spPr/>
      <dgm:t>
        <a:bodyPr/>
        <a:lstStyle/>
        <a:p>
          <a:endParaRPr lang="cs-CZ"/>
        </a:p>
      </dgm:t>
    </dgm:pt>
    <dgm:pt modelId="{D65FE824-26ED-4D52-961F-7E457BF69F6F}" type="sibTrans" cxnId="{B1400948-C942-4F42-BD14-199378937220}">
      <dgm:prSet/>
      <dgm:spPr/>
      <dgm:t>
        <a:bodyPr/>
        <a:lstStyle/>
        <a:p>
          <a:endParaRPr lang="cs-CZ"/>
        </a:p>
      </dgm:t>
    </dgm:pt>
    <dgm:pt modelId="{CD1244F4-66CB-4D8B-9E9B-AE3EB96C182A}">
      <dgm:prSet phldrT="[Text]"/>
      <dgm:spPr/>
      <dgm:t>
        <a:bodyPr/>
        <a:lstStyle/>
        <a:p>
          <a:r>
            <a:rPr lang="cs-CZ" b="1" dirty="0"/>
            <a:t>Dohoda o mlčenlivosti (</a:t>
          </a:r>
          <a:r>
            <a:rPr lang="cs-CZ" b="1" dirty="0" err="1"/>
            <a:t>NDA</a:t>
          </a:r>
          <a:r>
            <a:rPr lang="cs-CZ" b="1" dirty="0"/>
            <a:t>)</a:t>
          </a:r>
        </a:p>
      </dgm:t>
    </dgm:pt>
    <dgm:pt modelId="{90834F6D-9528-41EE-8FC9-5D8C5006376C}" type="parTrans" cxnId="{6DAB374B-6E26-450D-BEBE-97495456D143}">
      <dgm:prSet/>
      <dgm:spPr/>
      <dgm:t>
        <a:bodyPr/>
        <a:lstStyle/>
        <a:p>
          <a:endParaRPr lang="cs-CZ"/>
        </a:p>
      </dgm:t>
    </dgm:pt>
    <dgm:pt modelId="{FC464D58-97C5-47A6-91FD-DB758F23CE4E}" type="sibTrans" cxnId="{6DAB374B-6E26-450D-BEBE-97495456D143}">
      <dgm:prSet/>
      <dgm:spPr/>
      <dgm:t>
        <a:bodyPr/>
        <a:lstStyle/>
        <a:p>
          <a:endParaRPr lang="cs-CZ"/>
        </a:p>
      </dgm:t>
    </dgm:pt>
    <dgm:pt modelId="{083A116A-8B71-4FB5-878D-7FD48B447B40}">
      <dgm:prSet/>
      <dgm:spPr/>
      <dgm:t>
        <a:bodyPr/>
        <a:lstStyle/>
        <a:p>
          <a:r>
            <a:rPr lang="cs-CZ" b="0" i="1" dirty="0"/>
            <a:t>Informační Memorandum, Management </a:t>
          </a:r>
          <a:r>
            <a:rPr lang="cs-CZ" b="0" i="1" dirty="0" err="1"/>
            <a:t>Presentations</a:t>
          </a:r>
          <a:endParaRPr lang="cs-CZ" b="0" i="1" dirty="0"/>
        </a:p>
      </dgm:t>
    </dgm:pt>
    <dgm:pt modelId="{504F7A39-417D-40CD-939B-9AAD401AF2F2}" type="parTrans" cxnId="{9859E7B5-966F-4169-9900-671C436A41BF}">
      <dgm:prSet/>
      <dgm:spPr/>
      <dgm:t>
        <a:bodyPr/>
        <a:lstStyle/>
        <a:p>
          <a:endParaRPr lang="cs-CZ"/>
        </a:p>
      </dgm:t>
    </dgm:pt>
    <dgm:pt modelId="{3FC39E48-8331-43A2-AF6A-256B73F47CB1}" type="sibTrans" cxnId="{9859E7B5-966F-4169-9900-671C436A41BF}">
      <dgm:prSet/>
      <dgm:spPr/>
      <dgm:t>
        <a:bodyPr/>
        <a:lstStyle/>
        <a:p>
          <a:endParaRPr lang="cs-CZ"/>
        </a:p>
      </dgm:t>
    </dgm:pt>
    <dgm:pt modelId="{93C1800D-0E62-4BB2-ABD2-DA7F876B2756}">
      <dgm:prSet phldrT="[Text]"/>
      <dgm:spPr/>
      <dgm:t>
        <a:bodyPr/>
        <a:lstStyle/>
        <a:p>
          <a:r>
            <a:rPr lang="cs-CZ" b="0" i="1" dirty="0" err="1"/>
            <a:t>LoI</a:t>
          </a:r>
          <a:r>
            <a:rPr lang="cs-CZ" b="0" i="1" dirty="0"/>
            <a:t> </a:t>
          </a:r>
        </a:p>
        <a:p>
          <a:r>
            <a:rPr lang="cs-CZ" b="0" i="1" dirty="0"/>
            <a:t>nebo </a:t>
          </a:r>
        </a:p>
        <a:p>
          <a:r>
            <a:rPr lang="cs-CZ" b="0" i="1" dirty="0"/>
            <a:t>Term-</a:t>
          </a:r>
          <a:r>
            <a:rPr lang="cs-CZ" b="0" i="1" dirty="0" err="1"/>
            <a:t>Sheet</a:t>
          </a:r>
          <a:endParaRPr lang="cs-CZ" b="0" i="1" dirty="0"/>
        </a:p>
      </dgm:t>
    </dgm:pt>
    <dgm:pt modelId="{10C331F2-582C-4E9E-91FA-998D52E6398E}" type="parTrans" cxnId="{8E3C1204-1061-427E-8D33-329C62E504E2}">
      <dgm:prSet/>
      <dgm:spPr/>
      <dgm:t>
        <a:bodyPr/>
        <a:lstStyle/>
        <a:p>
          <a:endParaRPr lang="cs-CZ"/>
        </a:p>
      </dgm:t>
    </dgm:pt>
    <dgm:pt modelId="{11003004-D867-45DB-B8EC-C4A44486952A}" type="sibTrans" cxnId="{8E3C1204-1061-427E-8D33-329C62E504E2}">
      <dgm:prSet/>
      <dgm:spPr/>
      <dgm:t>
        <a:bodyPr/>
        <a:lstStyle/>
        <a:p>
          <a:endParaRPr lang="cs-CZ"/>
        </a:p>
      </dgm:t>
    </dgm:pt>
    <dgm:pt modelId="{99ADBFAE-BFD6-4EC6-862A-0AD1BE585FA5}">
      <dgm:prSet phldrT="[Text]"/>
      <dgm:spPr/>
      <dgm:t>
        <a:bodyPr/>
        <a:lstStyle/>
        <a:p>
          <a:r>
            <a:rPr lang="cs-CZ" b="1" dirty="0"/>
            <a:t>Jednání, dohoda („</a:t>
          </a:r>
          <a:r>
            <a:rPr lang="cs-CZ" b="1" dirty="0" err="1"/>
            <a:t>Agreed</a:t>
          </a:r>
          <a:r>
            <a:rPr lang="cs-CZ" b="1" dirty="0"/>
            <a:t> </a:t>
          </a:r>
          <a:r>
            <a:rPr lang="cs-CZ" b="1" dirty="0" err="1"/>
            <a:t>form</a:t>
          </a:r>
          <a:r>
            <a:rPr lang="cs-CZ" b="1" dirty="0"/>
            <a:t> </a:t>
          </a:r>
          <a:r>
            <a:rPr lang="cs-CZ" b="1" dirty="0" err="1"/>
            <a:t>SPA</a:t>
          </a:r>
          <a:r>
            <a:rPr lang="cs-CZ" b="1" dirty="0"/>
            <a:t>“)</a:t>
          </a:r>
        </a:p>
      </dgm:t>
    </dgm:pt>
    <dgm:pt modelId="{BCB1D8C4-BBD6-4376-BF98-1ECFDDAB2AC9}" type="parTrans" cxnId="{4FC943E2-C3F8-40A5-863A-9C9DD599D656}">
      <dgm:prSet/>
      <dgm:spPr/>
      <dgm:t>
        <a:bodyPr/>
        <a:lstStyle/>
        <a:p>
          <a:endParaRPr lang="cs-CZ"/>
        </a:p>
      </dgm:t>
    </dgm:pt>
    <dgm:pt modelId="{F97EB4DB-AAAB-405E-AFD2-5BD91C301B50}" type="sibTrans" cxnId="{4FC943E2-C3F8-40A5-863A-9C9DD599D656}">
      <dgm:prSet/>
      <dgm:spPr/>
      <dgm:t>
        <a:bodyPr/>
        <a:lstStyle/>
        <a:p>
          <a:endParaRPr lang="cs-CZ"/>
        </a:p>
      </dgm:t>
    </dgm:pt>
    <dgm:pt modelId="{A188EE17-6569-4849-8482-64537CB36C5B}">
      <dgm:prSet phldrT="[Text]"/>
      <dgm:spPr/>
      <dgm:t>
        <a:bodyPr/>
        <a:lstStyle/>
        <a:p>
          <a:r>
            <a:rPr lang="cs-CZ" b="1" dirty="0"/>
            <a:t>Podpis (</a:t>
          </a:r>
          <a:r>
            <a:rPr lang="cs-CZ" b="1" dirty="0" err="1"/>
            <a:t>Signing</a:t>
          </a:r>
          <a:r>
            <a:rPr lang="cs-CZ" b="1" dirty="0"/>
            <a:t>)</a:t>
          </a:r>
          <a:endParaRPr lang="cs-CZ" b="0" i="1" dirty="0"/>
        </a:p>
      </dgm:t>
    </dgm:pt>
    <dgm:pt modelId="{6BEB942D-751A-4204-8E41-53C894ADD3AE}" type="parTrans" cxnId="{F694600F-0DF1-4776-BB10-E5F83D5B3DB8}">
      <dgm:prSet/>
      <dgm:spPr/>
      <dgm:t>
        <a:bodyPr/>
        <a:lstStyle/>
        <a:p>
          <a:endParaRPr lang="cs-CZ"/>
        </a:p>
      </dgm:t>
    </dgm:pt>
    <dgm:pt modelId="{D5C32E86-9FB6-4CDB-8C95-54A227901A9D}" type="sibTrans" cxnId="{F694600F-0DF1-4776-BB10-E5F83D5B3DB8}">
      <dgm:prSet/>
      <dgm:spPr/>
      <dgm:t>
        <a:bodyPr/>
        <a:lstStyle/>
        <a:p>
          <a:endParaRPr lang="cs-CZ"/>
        </a:p>
      </dgm:t>
    </dgm:pt>
    <dgm:pt modelId="{13527068-A1CA-458F-B588-2D30F318AE6A}">
      <dgm:prSet phldrT="[Text]"/>
      <dgm:spPr/>
      <dgm:t>
        <a:bodyPr/>
        <a:lstStyle/>
        <a:p>
          <a:r>
            <a:rPr lang="cs-CZ" b="1" i="0" dirty="0"/>
            <a:t>Odkládací podmínky / </a:t>
          </a:r>
          <a:r>
            <a:rPr lang="cs-CZ" b="1" i="0" dirty="0" err="1"/>
            <a:t>CPs</a:t>
          </a:r>
          <a:endParaRPr lang="cs-CZ" b="1" i="0" dirty="0"/>
        </a:p>
      </dgm:t>
    </dgm:pt>
    <dgm:pt modelId="{43A47178-86D8-4A4C-8EC6-4F84B75EA0E7}" type="parTrans" cxnId="{D0350935-0E66-4C95-B462-CB6E5AFA8B50}">
      <dgm:prSet/>
      <dgm:spPr/>
      <dgm:t>
        <a:bodyPr/>
        <a:lstStyle/>
        <a:p>
          <a:endParaRPr lang="cs-CZ"/>
        </a:p>
      </dgm:t>
    </dgm:pt>
    <dgm:pt modelId="{3BD8E6D3-DBF4-4F74-B762-27FF01389575}" type="sibTrans" cxnId="{D0350935-0E66-4C95-B462-CB6E5AFA8B50}">
      <dgm:prSet/>
      <dgm:spPr/>
      <dgm:t>
        <a:bodyPr/>
        <a:lstStyle/>
        <a:p>
          <a:endParaRPr lang="cs-CZ"/>
        </a:p>
      </dgm:t>
    </dgm:pt>
    <dgm:pt modelId="{4D8136A5-3F30-45AA-B210-E6DC1A363333}" type="pres">
      <dgm:prSet presAssocID="{67AF0873-654F-4510-AB3A-6BCD089DABC3}" presName="diagram" presStyleCnt="0">
        <dgm:presLayoutVars>
          <dgm:dir/>
          <dgm:resizeHandles val="exact"/>
        </dgm:presLayoutVars>
      </dgm:prSet>
      <dgm:spPr/>
    </dgm:pt>
    <dgm:pt modelId="{2B32E410-3365-494B-A367-1744D2F2D527}" type="pres">
      <dgm:prSet presAssocID="{828DDA33-30BE-4304-96ED-9AEB1F2D1440}" presName="node" presStyleLbl="node1" presStyleIdx="0" presStyleCnt="13">
        <dgm:presLayoutVars>
          <dgm:bulletEnabled val="1"/>
        </dgm:presLayoutVars>
      </dgm:prSet>
      <dgm:spPr/>
    </dgm:pt>
    <dgm:pt modelId="{85E440E1-6AC4-4872-8CDB-AACE7C1CF22B}" type="pres">
      <dgm:prSet presAssocID="{E05485B6-08D1-4577-8682-F888C3815FF3}" presName="sibTrans" presStyleLbl="sibTrans2D1" presStyleIdx="0" presStyleCnt="12"/>
      <dgm:spPr/>
    </dgm:pt>
    <dgm:pt modelId="{E899C35B-C03D-43B4-97ED-B99E3109D9FD}" type="pres">
      <dgm:prSet presAssocID="{E05485B6-08D1-4577-8682-F888C3815FF3}" presName="connectorText" presStyleLbl="sibTrans2D1" presStyleIdx="0" presStyleCnt="12"/>
      <dgm:spPr/>
    </dgm:pt>
    <dgm:pt modelId="{3302F8D1-6174-43B6-80F6-7ABEF5395251}" type="pres">
      <dgm:prSet presAssocID="{89CBCCFC-6C22-4178-B8E1-81BF7B748E76}" presName="node" presStyleLbl="node1" presStyleIdx="1" presStyleCnt="13">
        <dgm:presLayoutVars>
          <dgm:bulletEnabled val="1"/>
        </dgm:presLayoutVars>
      </dgm:prSet>
      <dgm:spPr/>
    </dgm:pt>
    <dgm:pt modelId="{1C1576F0-F965-43CA-B32A-271CCC8BBE86}" type="pres">
      <dgm:prSet presAssocID="{D65FE824-26ED-4D52-961F-7E457BF69F6F}" presName="sibTrans" presStyleLbl="sibTrans2D1" presStyleIdx="1" presStyleCnt="12"/>
      <dgm:spPr/>
    </dgm:pt>
    <dgm:pt modelId="{85F8F4F9-A189-4398-A8B3-F2745C1D6428}" type="pres">
      <dgm:prSet presAssocID="{D65FE824-26ED-4D52-961F-7E457BF69F6F}" presName="connectorText" presStyleLbl="sibTrans2D1" presStyleIdx="1" presStyleCnt="12"/>
      <dgm:spPr/>
    </dgm:pt>
    <dgm:pt modelId="{31C59386-C4B7-40D6-B155-A0CC8046E80A}" type="pres">
      <dgm:prSet presAssocID="{CD1244F4-66CB-4D8B-9E9B-AE3EB96C182A}" presName="node" presStyleLbl="node1" presStyleIdx="2" presStyleCnt="13">
        <dgm:presLayoutVars>
          <dgm:bulletEnabled val="1"/>
        </dgm:presLayoutVars>
      </dgm:prSet>
      <dgm:spPr/>
    </dgm:pt>
    <dgm:pt modelId="{129179D8-F1A1-40F4-9A2C-40E0816CEE97}" type="pres">
      <dgm:prSet presAssocID="{FC464D58-97C5-47A6-91FD-DB758F23CE4E}" presName="sibTrans" presStyleLbl="sibTrans2D1" presStyleIdx="2" presStyleCnt="12"/>
      <dgm:spPr/>
    </dgm:pt>
    <dgm:pt modelId="{5C3E99B5-E9A3-407F-8CEC-72BBE218F501}" type="pres">
      <dgm:prSet presAssocID="{FC464D58-97C5-47A6-91FD-DB758F23CE4E}" presName="connectorText" presStyleLbl="sibTrans2D1" presStyleIdx="2" presStyleCnt="12"/>
      <dgm:spPr/>
    </dgm:pt>
    <dgm:pt modelId="{690FBC40-FDDA-4C5F-B2B6-BA82ED89E8AB}" type="pres">
      <dgm:prSet presAssocID="{083A116A-8B71-4FB5-878D-7FD48B447B40}" presName="node" presStyleLbl="node1" presStyleIdx="3" presStyleCnt="13">
        <dgm:presLayoutVars>
          <dgm:bulletEnabled val="1"/>
        </dgm:presLayoutVars>
      </dgm:prSet>
      <dgm:spPr/>
    </dgm:pt>
    <dgm:pt modelId="{712EC755-27ED-4385-B25F-5FC38AA796EA}" type="pres">
      <dgm:prSet presAssocID="{3FC39E48-8331-43A2-AF6A-256B73F47CB1}" presName="sibTrans" presStyleLbl="sibTrans2D1" presStyleIdx="3" presStyleCnt="12"/>
      <dgm:spPr/>
    </dgm:pt>
    <dgm:pt modelId="{A7C7801C-7FF8-4422-8F86-5DE2EFFBEAC9}" type="pres">
      <dgm:prSet presAssocID="{3FC39E48-8331-43A2-AF6A-256B73F47CB1}" presName="connectorText" presStyleLbl="sibTrans2D1" presStyleIdx="3" presStyleCnt="12"/>
      <dgm:spPr/>
    </dgm:pt>
    <dgm:pt modelId="{A3D97B7B-5134-4984-99E5-28CB9B4EF218}" type="pres">
      <dgm:prSet presAssocID="{93C1800D-0E62-4BB2-ABD2-DA7F876B2756}" presName="node" presStyleLbl="node1" presStyleIdx="4" presStyleCnt="13">
        <dgm:presLayoutVars>
          <dgm:bulletEnabled val="1"/>
        </dgm:presLayoutVars>
      </dgm:prSet>
      <dgm:spPr/>
    </dgm:pt>
    <dgm:pt modelId="{93ED5C7C-D354-4B63-B1A5-98F30573BA3F}" type="pres">
      <dgm:prSet presAssocID="{11003004-D867-45DB-B8EC-C4A44486952A}" presName="sibTrans" presStyleLbl="sibTrans2D1" presStyleIdx="4" presStyleCnt="12"/>
      <dgm:spPr/>
    </dgm:pt>
    <dgm:pt modelId="{3F1C6988-5F4F-4DB3-B9AC-112C7018D945}" type="pres">
      <dgm:prSet presAssocID="{11003004-D867-45DB-B8EC-C4A44486952A}" presName="connectorText" presStyleLbl="sibTrans2D1" presStyleIdx="4" presStyleCnt="12"/>
      <dgm:spPr/>
    </dgm:pt>
    <dgm:pt modelId="{DCD2E134-18E4-4A63-985E-935770130ECA}" type="pres">
      <dgm:prSet presAssocID="{47EE3148-0776-456F-9F1A-F35C6A434C88}" presName="node" presStyleLbl="node1" presStyleIdx="5" presStyleCnt="13">
        <dgm:presLayoutVars>
          <dgm:bulletEnabled val="1"/>
        </dgm:presLayoutVars>
      </dgm:prSet>
      <dgm:spPr/>
    </dgm:pt>
    <dgm:pt modelId="{34B32203-6E3D-4FC3-8C20-BA232E1118F8}" type="pres">
      <dgm:prSet presAssocID="{C63C4564-8E39-4EA2-BEBF-D5DE288C243E}" presName="sibTrans" presStyleLbl="sibTrans2D1" presStyleIdx="5" presStyleCnt="12"/>
      <dgm:spPr/>
    </dgm:pt>
    <dgm:pt modelId="{D3222887-04A1-4CCD-8880-440D470B6952}" type="pres">
      <dgm:prSet presAssocID="{C63C4564-8E39-4EA2-BEBF-D5DE288C243E}" presName="connectorText" presStyleLbl="sibTrans2D1" presStyleIdx="5" presStyleCnt="12"/>
      <dgm:spPr/>
    </dgm:pt>
    <dgm:pt modelId="{3784431B-A1D2-4F51-BAB6-613E7DE2F203}" type="pres">
      <dgm:prSet presAssocID="{E36F3098-A487-4F3C-9358-D52BB6453AE9}" presName="node" presStyleLbl="node1" presStyleIdx="6" presStyleCnt="13">
        <dgm:presLayoutVars>
          <dgm:bulletEnabled val="1"/>
        </dgm:presLayoutVars>
      </dgm:prSet>
      <dgm:spPr/>
    </dgm:pt>
    <dgm:pt modelId="{62B8C3F5-D24E-4911-9A28-DC73917E4F97}" type="pres">
      <dgm:prSet presAssocID="{CA084B63-C96F-4D82-BB5B-8CE34F4C5753}" presName="sibTrans" presStyleLbl="sibTrans2D1" presStyleIdx="6" presStyleCnt="12"/>
      <dgm:spPr/>
    </dgm:pt>
    <dgm:pt modelId="{DD705FBE-A0A7-4B15-807E-53BFF40C8CD6}" type="pres">
      <dgm:prSet presAssocID="{CA084B63-C96F-4D82-BB5B-8CE34F4C5753}" presName="connectorText" presStyleLbl="sibTrans2D1" presStyleIdx="6" presStyleCnt="12"/>
      <dgm:spPr/>
    </dgm:pt>
    <dgm:pt modelId="{F3AB15D3-FABF-4B10-B398-3E5BFB0B7C14}" type="pres">
      <dgm:prSet presAssocID="{99ADBFAE-BFD6-4EC6-862A-0AD1BE585FA5}" presName="node" presStyleLbl="node1" presStyleIdx="7" presStyleCnt="13">
        <dgm:presLayoutVars>
          <dgm:bulletEnabled val="1"/>
        </dgm:presLayoutVars>
      </dgm:prSet>
      <dgm:spPr/>
    </dgm:pt>
    <dgm:pt modelId="{BCC3FB23-5361-48DA-8D73-5F5B8257D0BC}" type="pres">
      <dgm:prSet presAssocID="{F97EB4DB-AAAB-405E-AFD2-5BD91C301B50}" presName="sibTrans" presStyleLbl="sibTrans2D1" presStyleIdx="7" presStyleCnt="12"/>
      <dgm:spPr/>
    </dgm:pt>
    <dgm:pt modelId="{7C720342-5D4D-4662-BB66-7DCB0B22EF19}" type="pres">
      <dgm:prSet presAssocID="{F97EB4DB-AAAB-405E-AFD2-5BD91C301B50}" presName="connectorText" presStyleLbl="sibTrans2D1" presStyleIdx="7" presStyleCnt="12"/>
      <dgm:spPr/>
    </dgm:pt>
    <dgm:pt modelId="{8E878BC4-8912-4178-9F2E-63BF1ECFFBEA}" type="pres">
      <dgm:prSet presAssocID="{A188EE17-6569-4849-8482-64537CB36C5B}" presName="node" presStyleLbl="node1" presStyleIdx="8" presStyleCnt="13">
        <dgm:presLayoutVars>
          <dgm:bulletEnabled val="1"/>
        </dgm:presLayoutVars>
      </dgm:prSet>
      <dgm:spPr/>
    </dgm:pt>
    <dgm:pt modelId="{C59C0CB7-149E-4435-B690-0528D8EFBEA5}" type="pres">
      <dgm:prSet presAssocID="{D5C32E86-9FB6-4CDB-8C95-54A227901A9D}" presName="sibTrans" presStyleLbl="sibTrans2D1" presStyleIdx="8" presStyleCnt="12"/>
      <dgm:spPr/>
    </dgm:pt>
    <dgm:pt modelId="{32E00774-6B19-4CAA-A09B-1A2C4D70DCFA}" type="pres">
      <dgm:prSet presAssocID="{D5C32E86-9FB6-4CDB-8C95-54A227901A9D}" presName="connectorText" presStyleLbl="sibTrans2D1" presStyleIdx="8" presStyleCnt="12"/>
      <dgm:spPr/>
    </dgm:pt>
    <dgm:pt modelId="{943BC048-A90D-4D9E-9821-A85ACAC327CA}" type="pres">
      <dgm:prSet presAssocID="{13527068-A1CA-458F-B588-2D30F318AE6A}" presName="node" presStyleLbl="node1" presStyleIdx="9" presStyleCnt="13">
        <dgm:presLayoutVars>
          <dgm:bulletEnabled val="1"/>
        </dgm:presLayoutVars>
      </dgm:prSet>
      <dgm:spPr/>
    </dgm:pt>
    <dgm:pt modelId="{62E498A3-2517-45DC-9A8A-B34427D9BB6A}" type="pres">
      <dgm:prSet presAssocID="{3BD8E6D3-DBF4-4F74-B762-27FF01389575}" presName="sibTrans" presStyleLbl="sibTrans2D1" presStyleIdx="9" presStyleCnt="12"/>
      <dgm:spPr/>
    </dgm:pt>
    <dgm:pt modelId="{FECEF29F-53FE-447A-BFEB-12F0A2DF6317}" type="pres">
      <dgm:prSet presAssocID="{3BD8E6D3-DBF4-4F74-B762-27FF01389575}" presName="connectorText" presStyleLbl="sibTrans2D1" presStyleIdx="9" presStyleCnt="12"/>
      <dgm:spPr/>
    </dgm:pt>
    <dgm:pt modelId="{C2AC126E-D58A-4775-9E89-4DDBC214AEC1}" type="pres">
      <dgm:prSet presAssocID="{5404560D-1EFB-4624-945D-4DD8989990AA}" presName="node" presStyleLbl="node1" presStyleIdx="10" presStyleCnt="13">
        <dgm:presLayoutVars>
          <dgm:bulletEnabled val="1"/>
        </dgm:presLayoutVars>
      </dgm:prSet>
      <dgm:spPr/>
    </dgm:pt>
    <dgm:pt modelId="{65357D0F-DA24-4B22-B866-9C5F45D83539}" type="pres">
      <dgm:prSet presAssocID="{B3305FBD-2A98-4A5D-9448-5B552679D00A}" presName="sibTrans" presStyleLbl="sibTrans2D1" presStyleIdx="10" presStyleCnt="12"/>
      <dgm:spPr/>
    </dgm:pt>
    <dgm:pt modelId="{1406B004-60F2-4DD9-810B-680BEBC77DF8}" type="pres">
      <dgm:prSet presAssocID="{B3305FBD-2A98-4A5D-9448-5B552679D00A}" presName="connectorText" presStyleLbl="sibTrans2D1" presStyleIdx="10" presStyleCnt="12"/>
      <dgm:spPr/>
    </dgm:pt>
    <dgm:pt modelId="{D6E5D510-5AE4-40FC-8E5D-C5B3280B3071}" type="pres">
      <dgm:prSet presAssocID="{44BCA2F7-4DFE-40B0-BF36-395295EDAF37}" presName="node" presStyleLbl="node1" presStyleIdx="11" presStyleCnt="13">
        <dgm:presLayoutVars>
          <dgm:bulletEnabled val="1"/>
        </dgm:presLayoutVars>
      </dgm:prSet>
      <dgm:spPr/>
    </dgm:pt>
    <dgm:pt modelId="{F0D65399-0147-47D5-9455-0DE6DE7AB3D4}" type="pres">
      <dgm:prSet presAssocID="{1A483732-DEE2-49AC-8401-AC4547915754}" presName="sibTrans" presStyleLbl="sibTrans2D1" presStyleIdx="11" presStyleCnt="12"/>
      <dgm:spPr/>
    </dgm:pt>
    <dgm:pt modelId="{B0EB730C-F0B6-4ACB-9FE9-C5BD5E852DC9}" type="pres">
      <dgm:prSet presAssocID="{1A483732-DEE2-49AC-8401-AC4547915754}" presName="connectorText" presStyleLbl="sibTrans2D1" presStyleIdx="11" presStyleCnt="12"/>
      <dgm:spPr/>
    </dgm:pt>
    <dgm:pt modelId="{85255D68-460B-43F3-98F6-D967AFF13228}" type="pres">
      <dgm:prSet presAssocID="{553D5A18-350A-4DE4-801A-BA63244DF558}" presName="node" presStyleLbl="node1" presStyleIdx="12" presStyleCnt="13">
        <dgm:presLayoutVars>
          <dgm:bulletEnabled val="1"/>
        </dgm:presLayoutVars>
      </dgm:prSet>
      <dgm:spPr/>
    </dgm:pt>
  </dgm:ptLst>
  <dgm:cxnLst>
    <dgm:cxn modelId="{D9872D00-928D-4744-B845-202ACC6D8EB2}" type="presOf" srcId="{E36F3098-A487-4F3C-9358-D52BB6453AE9}" destId="{3784431B-A1D2-4F51-BAB6-613E7DE2F203}" srcOrd="0" destOrd="0" presId="urn:microsoft.com/office/officeart/2005/8/layout/process5"/>
    <dgm:cxn modelId="{6D7D6F01-4333-4756-8396-7FC49A3670C0}" srcId="{67AF0873-654F-4510-AB3A-6BCD089DABC3}" destId="{44BCA2F7-4DFE-40B0-BF36-395295EDAF37}" srcOrd="11" destOrd="0" parTransId="{234B0C10-ADBC-4532-939F-A8C683BC36CE}" sibTransId="{1A483732-DEE2-49AC-8401-AC4547915754}"/>
    <dgm:cxn modelId="{8E3C1204-1061-427E-8D33-329C62E504E2}" srcId="{67AF0873-654F-4510-AB3A-6BCD089DABC3}" destId="{93C1800D-0E62-4BB2-ABD2-DA7F876B2756}" srcOrd="4" destOrd="0" parTransId="{10C331F2-582C-4E9E-91FA-998D52E6398E}" sibTransId="{11003004-D867-45DB-B8EC-C4A44486952A}"/>
    <dgm:cxn modelId="{F694600F-0DF1-4776-BB10-E5F83D5B3DB8}" srcId="{67AF0873-654F-4510-AB3A-6BCD089DABC3}" destId="{A188EE17-6569-4849-8482-64537CB36C5B}" srcOrd="8" destOrd="0" parTransId="{6BEB942D-751A-4204-8E41-53C894ADD3AE}" sibTransId="{D5C32E86-9FB6-4CDB-8C95-54A227901A9D}"/>
    <dgm:cxn modelId="{EF42031B-9F6F-4F44-997C-A0B577B473B3}" type="presOf" srcId="{F97EB4DB-AAAB-405E-AFD2-5BD91C301B50}" destId="{BCC3FB23-5361-48DA-8D73-5F5B8257D0BC}" srcOrd="0" destOrd="0" presId="urn:microsoft.com/office/officeart/2005/8/layout/process5"/>
    <dgm:cxn modelId="{1C418D1D-7969-46FF-B7D6-44580B811542}" type="presOf" srcId="{CD1244F4-66CB-4D8B-9E9B-AE3EB96C182A}" destId="{31C59386-C4B7-40D6-B155-A0CC8046E80A}" srcOrd="0" destOrd="0" presId="urn:microsoft.com/office/officeart/2005/8/layout/process5"/>
    <dgm:cxn modelId="{A9F7AE2A-FF70-44B4-8250-71DBD90D4779}" type="presOf" srcId="{D65FE824-26ED-4D52-961F-7E457BF69F6F}" destId="{1C1576F0-F965-43CA-B32A-271CCC8BBE86}" srcOrd="0" destOrd="0" presId="urn:microsoft.com/office/officeart/2005/8/layout/process5"/>
    <dgm:cxn modelId="{F45D552B-25A6-478A-BD21-EF142D3EA4D1}" type="presOf" srcId="{1A483732-DEE2-49AC-8401-AC4547915754}" destId="{F0D65399-0147-47D5-9455-0DE6DE7AB3D4}" srcOrd="0" destOrd="0" presId="urn:microsoft.com/office/officeart/2005/8/layout/process5"/>
    <dgm:cxn modelId="{833FCD2F-4B69-4CF1-8D3E-9528D88FFEE6}" type="presOf" srcId="{3BD8E6D3-DBF4-4F74-B762-27FF01389575}" destId="{FECEF29F-53FE-447A-BFEB-12F0A2DF6317}" srcOrd="1" destOrd="0" presId="urn:microsoft.com/office/officeart/2005/8/layout/process5"/>
    <dgm:cxn modelId="{C0EB8C32-EB88-4944-A99B-676040BBA17F}" type="presOf" srcId="{D5C32E86-9FB6-4CDB-8C95-54A227901A9D}" destId="{C59C0CB7-149E-4435-B690-0528D8EFBEA5}" srcOrd="0" destOrd="0" presId="urn:microsoft.com/office/officeart/2005/8/layout/process5"/>
    <dgm:cxn modelId="{D0350935-0E66-4C95-B462-CB6E5AFA8B50}" srcId="{67AF0873-654F-4510-AB3A-6BCD089DABC3}" destId="{13527068-A1CA-458F-B588-2D30F318AE6A}" srcOrd="9" destOrd="0" parTransId="{43A47178-86D8-4A4C-8EC6-4F84B75EA0E7}" sibTransId="{3BD8E6D3-DBF4-4F74-B762-27FF01389575}"/>
    <dgm:cxn modelId="{66202536-C569-47B3-BEC7-9798660A9A01}" type="presOf" srcId="{93C1800D-0E62-4BB2-ABD2-DA7F876B2756}" destId="{A3D97B7B-5134-4984-99E5-28CB9B4EF218}" srcOrd="0" destOrd="0" presId="urn:microsoft.com/office/officeart/2005/8/layout/process5"/>
    <dgm:cxn modelId="{A5659637-34CF-469C-9D45-5877669D8292}" type="presOf" srcId="{B3305FBD-2A98-4A5D-9448-5B552679D00A}" destId="{1406B004-60F2-4DD9-810B-680BEBC77DF8}" srcOrd="1" destOrd="0" presId="urn:microsoft.com/office/officeart/2005/8/layout/process5"/>
    <dgm:cxn modelId="{15B29039-1188-4EDA-A285-E557AEAAA60B}" type="presOf" srcId="{67AF0873-654F-4510-AB3A-6BCD089DABC3}" destId="{4D8136A5-3F30-45AA-B210-E6DC1A363333}" srcOrd="0" destOrd="0" presId="urn:microsoft.com/office/officeart/2005/8/layout/process5"/>
    <dgm:cxn modelId="{9EB6A040-4116-4E60-B3C1-1E9C634C39DB}" type="presOf" srcId="{FC464D58-97C5-47A6-91FD-DB758F23CE4E}" destId="{129179D8-F1A1-40F4-9A2C-40E0816CEE97}" srcOrd="0" destOrd="0" presId="urn:microsoft.com/office/officeart/2005/8/layout/process5"/>
    <dgm:cxn modelId="{2A392F5C-B32A-429A-B88F-F4EF10B3CF8B}" type="presOf" srcId="{FC464D58-97C5-47A6-91FD-DB758F23CE4E}" destId="{5C3E99B5-E9A3-407F-8CEC-72BBE218F501}" srcOrd="1" destOrd="0" presId="urn:microsoft.com/office/officeart/2005/8/layout/process5"/>
    <dgm:cxn modelId="{953DB741-C817-4026-B1C1-B8079C8B0230}" type="presOf" srcId="{13527068-A1CA-458F-B588-2D30F318AE6A}" destId="{943BC048-A90D-4D9E-9821-A85ACAC327CA}" srcOrd="0" destOrd="0" presId="urn:microsoft.com/office/officeart/2005/8/layout/process5"/>
    <dgm:cxn modelId="{5BF1A564-F11F-480A-A29A-C03035D10016}" type="presOf" srcId="{89CBCCFC-6C22-4178-B8E1-81BF7B748E76}" destId="{3302F8D1-6174-43B6-80F6-7ABEF5395251}" srcOrd="0" destOrd="0" presId="urn:microsoft.com/office/officeart/2005/8/layout/process5"/>
    <dgm:cxn modelId="{76EBAF44-68F6-4263-BE6F-261A9691EB40}" type="presOf" srcId="{3FC39E48-8331-43A2-AF6A-256B73F47CB1}" destId="{712EC755-27ED-4385-B25F-5FC38AA796EA}" srcOrd="0" destOrd="0" presId="urn:microsoft.com/office/officeart/2005/8/layout/process5"/>
    <dgm:cxn modelId="{2B507245-4ADC-40AA-9EDE-74652BBEC500}" type="presOf" srcId="{99ADBFAE-BFD6-4EC6-862A-0AD1BE585FA5}" destId="{F3AB15D3-FABF-4B10-B398-3E5BFB0B7C14}" srcOrd="0" destOrd="0" presId="urn:microsoft.com/office/officeart/2005/8/layout/process5"/>
    <dgm:cxn modelId="{B1400948-C942-4F42-BD14-199378937220}" srcId="{67AF0873-654F-4510-AB3A-6BCD089DABC3}" destId="{89CBCCFC-6C22-4178-B8E1-81BF7B748E76}" srcOrd="1" destOrd="0" parTransId="{A0D5F88D-1DB9-4233-A2EF-82F593464D50}" sibTransId="{D65FE824-26ED-4D52-961F-7E457BF69F6F}"/>
    <dgm:cxn modelId="{DE37A468-AE50-49A7-BCB3-297A95A94BD3}" srcId="{67AF0873-654F-4510-AB3A-6BCD089DABC3}" destId="{E36F3098-A487-4F3C-9358-D52BB6453AE9}" srcOrd="6" destOrd="0" parTransId="{9696FCA6-6BFA-4740-AE3B-083B50C6A2D7}" sibTransId="{CA084B63-C96F-4D82-BB5B-8CE34F4C5753}"/>
    <dgm:cxn modelId="{6BCFFE6A-F1B6-43DD-B575-CB4E0D7A4437}" type="presOf" srcId="{3FC39E48-8331-43A2-AF6A-256B73F47CB1}" destId="{A7C7801C-7FF8-4422-8F86-5DE2EFFBEAC9}" srcOrd="1" destOrd="0" presId="urn:microsoft.com/office/officeart/2005/8/layout/process5"/>
    <dgm:cxn modelId="{6DAB374B-6E26-450D-BEBE-97495456D143}" srcId="{67AF0873-654F-4510-AB3A-6BCD089DABC3}" destId="{CD1244F4-66CB-4D8B-9E9B-AE3EB96C182A}" srcOrd="2" destOrd="0" parTransId="{90834F6D-9528-41EE-8FC9-5D8C5006376C}" sibTransId="{FC464D58-97C5-47A6-91FD-DB758F23CE4E}"/>
    <dgm:cxn modelId="{130CFA6B-FE07-4E44-B279-41679469453A}" type="presOf" srcId="{E05485B6-08D1-4577-8682-F888C3815FF3}" destId="{85E440E1-6AC4-4872-8CDB-AACE7C1CF22B}" srcOrd="0" destOrd="0" presId="urn:microsoft.com/office/officeart/2005/8/layout/process5"/>
    <dgm:cxn modelId="{C4438E6F-ED4C-4FF5-A4B8-586DF7C57C5F}" type="presOf" srcId="{3BD8E6D3-DBF4-4F74-B762-27FF01389575}" destId="{62E498A3-2517-45DC-9A8A-B34427D9BB6A}" srcOrd="0" destOrd="0" presId="urn:microsoft.com/office/officeart/2005/8/layout/process5"/>
    <dgm:cxn modelId="{672CC977-7379-455C-98F3-D92642BFE619}" type="presOf" srcId="{B3305FBD-2A98-4A5D-9448-5B552679D00A}" destId="{65357D0F-DA24-4B22-B866-9C5F45D83539}" srcOrd="0" destOrd="0" presId="urn:microsoft.com/office/officeart/2005/8/layout/process5"/>
    <dgm:cxn modelId="{63023279-8CCA-4D00-8BBA-3BFF049DBC95}" type="presOf" srcId="{44BCA2F7-4DFE-40B0-BF36-395295EDAF37}" destId="{D6E5D510-5AE4-40FC-8E5D-C5B3280B3071}" srcOrd="0" destOrd="0" presId="urn:microsoft.com/office/officeart/2005/8/layout/process5"/>
    <dgm:cxn modelId="{D8A83B5A-B7FD-4E95-96C6-CDEAEE73EBDA}" srcId="{67AF0873-654F-4510-AB3A-6BCD089DABC3}" destId="{553D5A18-350A-4DE4-801A-BA63244DF558}" srcOrd="12" destOrd="0" parTransId="{F04A867C-C9DF-4817-B7C1-5ADA3A0294E9}" sibTransId="{A03E3999-B985-4024-BAA2-419DE862652E}"/>
    <dgm:cxn modelId="{3411C17E-0E7F-4764-A4FA-9FF89EEE4870}" type="presOf" srcId="{828DDA33-30BE-4304-96ED-9AEB1F2D1440}" destId="{2B32E410-3365-494B-A367-1744D2F2D527}" srcOrd="0" destOrd="0" presId="urn:microsoft.com/office/officeart/2005/8/layout/process5"/>
    <dgm:cxn modelId="{90AB287F-B0CE-4DD9-9F91-4A6483E4D82D}" type="presOf" srcId="{C63C4564-8E39-4EA2-BEBF-D5DE288C243E}" destId="{34B32203-6E3D-4FC3-8C20-BA232E1118F8}" srcOrd="0" destOrd="0" presId="urn:microsoft.com/office/officeart/2005/8/layout/process5"/>
    <dgm:cxn modelId="{637455A0-BCEF-4CC8-AA16-4A2F403EF6B6}" srcId="{67AF0873-654F-4510-AB3A-6BCD089DABC3}" destId="{5404560D-1EFB-4624-945D-4DD8989990AA}" srcOrd="10" destOrd="0" parTransId="{A6F9399C-F054-42CD-AF06-B73D12F69D7A}" sibTransId="{B3305FBD-2A98-4A5D-9448-5B552679D00A}"/>
    <dgm:cxn modelId="{9F7E1FA3-42B3-4CD8-A752-118DC8DF3C0D}" type="presOf" srcId="{F97EB4DB-AAAB-405E-AFD2-5BD91C301B50}" destId="{7C720342-5D4D-4662-BB66-7DCB0B22EF19}" srcOrd="1" destOrd="0" presId="urn:microsoft.com/office/officeart/2005/8/layout/process5"/>
    <dgm:cxn modelId="{787A24A9-7E2D-48C8-8800-10431B84D4BB}" type="presOf" srcId="{47EE3148-0776-456F-9F1A-F35C6A434C88}" destId="{DCD2E134-18E4-4A63-985E-935770130ECA}" srcOrd="0" destOrd="0" presId="urn:microsoft.com/office/officeart/2005/8/layout/process5"/>
    <dgm:cxn modelId="{804E70A9-EA36-491E-B04B-ACF29D2FBDE3}" srcId="{67AF0873-654F-4510-AB3A-6BCD089DABC3}" destId="{828DDA33-30BE-4304-96ED-9AEB1F2D1440}" srcOrd="0" destOrd="0" parTransId="{9889BE34-551F-47E7-AC0E-AA0FEE0F020E}" sibTransId="{E05485B6-08D1-4577-8682-F888C3815FF3}"/>
    <dgm:cxn modelId="{88F2F0A9-B4CD-4135-A6CC-4B26F766732F}" type="presOf" srcId="{1A483732-DEE2-49AC-8401-AC4547915754}" destId="{B0EB730C-F0B6-4ACB-9FE9-C5BD5E852DC9}" srcOrd="1" destOrd="0" presId="urn:microsoft.com/office/officeart/2005/8/layout/process5"/>
    <dgm:cxn modelId="{FBAEB5AD-0543-463B-94A5-830C561884A7}" type="presOf" srcId="{553D5A18-350A-4DE4-801A-BA63244DF558}" destId="{85255D68-460B-43F3-98F6-D967AFF13228}" srcOrd="0" destOrd="0" presId="urn:microsoft.com/office/officeart/2005/8/layout/process5"/>
    <dgm:cxn modelId="{620007B0-460C-4362-9CA1-E5E222E8E072}" type="presOf" srcId="{CA084B63-C96F-4D82-BB5B-8CE34F4C5753}" destId="{62B8C3F5-D24E-4911-9A28-DC73917E4F97}" srcOrd="0" destOrd="0" presId="urn:microsoft.com/office/officeart/2005/8/layout/process5"/>
    <dgm:cxn modelId="{E4E932B4-E94E-427F-ABA8-E2FA1FBF42FA}" type="presOf" srcId="{D65FE824-26ED-4D52-961F-7E457BF69F6F}" destId="{85F8F4F9-A189-4398-A8B3-F2745C1D6428}" srcOrd="1" destOrd="0" presId="urn:microsoft.com/office/officeart/2005/8/layout/process5"/>
    <dgm:cxn modelId="{9859E7B5-966F-4169-9900-671C436A41BF}" srcId="{67AF0873-654F-4510-AB3A-6BCD089DABC3}" destId="{083A116A-8B71-4FB5-878D-7FD48B447B40}" srcOrd="3" destOrd="0" parTransId="{504F7A39-417D-40CD-939B-9AAD401AF2F2}" sibTransId="{3FC39E48-8331-43A2-AF6A-256B73F47CB1}"/>
    <dgm:cxn modelId="{67DE88B6-229A-405E-99F1-A4C21817B527}" type="presOf" srcId="{D5C32E86-9FB6-4CDB-8C95-54A227901A9D}" destId="{32E00774-6B19-4CAA-A09B-1A2C4D70DCFA}" srcOrd="1" destOrd="0" presId="urn:microsoft.com/office/officeart/2005/8/layout/process5"/>
    <dgm:cxn modelId="{97DA57BD-05CC-44FA-B4F6-1C11B3553CD5}" type="presOf" srcId="{C63C4564-8E39-4EA2-BEBF-D5DE288C243E}" destId="{D3222887-04A1-4CCD-8880-440D470B6952}" srcOrd="1" destOrd="0" presId="urn:microsoft.com/office/officeart/2005/8/layout/process5"/>
    <dgm:cxn modelId="{D2DD7CC2-A708-4184-94E1-79658C236746}" type="presOf" srcId="{11003004-D867-45DB-B8EC-C4A44486952A}" destId="{93ED5C7C-D354-4B63-B1A5-98F30573BA3F}" srcOrd="0" destOrd="0" presId="urn:microsoft.com/office/officeart/2005/8/layout/process5"/>
    <dgm:cxn modelId="{8F099AC2-1156-4B9D-B0A8-577802B95F06}" type="presOf" srcId="{E05485B6-08D1-4577-8682-F888C3815FF3}" destId="{E899C35B-C03D-43B4-97ED-B99E3109D9FD}" srcOrd="1" destOrd="0" presId="urn:microsoft.com/office/officeart/2005/8/layout/process5"/>
    <dgm:cxn modelId="{227C94C9-793C-48B1-ADF7-C9834CD0A731}" type="presOf" srcId="{A188EE17-6569-4849-8482-64537CB36C5B}" destId="{8E878BC4-8912-4178-9F2E-63BF1ECFFBEA}" srcOrd="0" destOrd="0" presId="urn:microsoft.com/office/officeart/2005/8/layout/process5"/>
    <dgm:cxn modelId="{897E43D7-93FE-4C90-9682-63EC0B81F7F6}" srcId="{67AF0873-654F-4510-AB3A-6BCD089DABC3}" destId="{47EE3148-0776-456F-9F1A-F35C6A434C88}" srcOrd="5" destOrd="0" parTransId="{FD253779-7136-45DA-BE4D-46BB0CC7C935}" sibTransId="{C63C4564-8E39-4EA2-BEBF-D5DE288C243E}"/>
    <dgm:cxn modelId="{48DA19E1-2710-42E7-BD7E-2349AD1D7409}" type="presOf" srcId="{11003004-D867-45DB-B8EC-C4A44486952A}" destId="{3F1C6988-5F4F-4DB3-B9AC-112C7018D945}" srcOrd="1" destOrd="0" presId="urn:microsoft.com/office/officeart/2005/8/layout/process5"/>
    <dgm:cxn modelId="{4FC943E2-C3F8-40A5-863A-9C9DD599D656}" srcId="{67AF0873-654F-4510-AB3A-6BCD089DABC3}" destId="{99ADBFAE-BFD6-4EC6-862A-0AD1BE585FA5}" srcOrd="7" destOrd="0" parTransId="{BCB1D8C4-BBD6-4376-BF98-1ECFDDAB2AC9}" sibTransId="{F97EB4DB-AAAB-405E-AFD2-5BD91C301B50}"/>
    <dgm:cxn modelId="{27FB9EE2-5997-4EEA-B093-506D89761A68}" type="presOf" srcId="{5404560D-1EFB-4624-945D-4DD8989990AA}" destId="{C2AC126E-D58A-4775-9E89-4DDBC214AEC1}" srcOrd="0" destOrd="0" presId="urn:microsoft.com/office/officeart/2005/8/layout/process5"/>
    <dgm:cxn modelId="{864E6AEA-526E-4E21-B1DF-8CBB5C2D26C6}" type="presOf" srcId="{CA084B63-C96F-4D82-BB5B-8CE34F4C5753}" destId="{DD705FBE-A0A7-4B15-807E-53BFF40C8CD6}" srcOrd="1" destOrd="0" presId="urn:microsoft.com/office/officeart/2005/8/layout/process5"/>
    <dgm:cxn modelId="{9A7B47FB-BD94-4D98-BAEB-545FBEDE0CDA}" type="presOf" srcId="{083A116A-8B71-4FB5-878D-7FD48B447B40}" destId="{690FBC40-FDDA-4C5F-B2B6-BA82ED89E8AB}" srcOrd="0" destOrd="0" presId="urn:microsoft.com/office/officeart/2005/8/layout/process5"/>
    <dgm:cxn modelId="{A2317D6C-97B3-4316-B2E1-527798BC108A}" type="presParOf" srcId="{4D8136A5-3F30-45AA-B210-E6DC1A363333}" destId="{2B32E410-3365-494B-A367-1744D2F2D527}" srcOrd="0" destOrd="0" presId="urn:microsoft.com/office/officeart/2005/8/layout/process5"/>
    <dgm:cxn modelId="{05BA71E2-B529-4E29-8E9E-263191769187}" type="presParOf" srcId="{4D8136A5-3F30-45AA-B210-E6DC1A363333}" destId="{85E440E1-6AC4-4872-8CDB-AACE7C1CF22B}" srcOrd="1" destOrd="0" presId="urn:microsoft.com/office/officeart/2005/8/layout/process5"/>
    <dgm:cxn modelId="{62AF1205-EC02-4122-BC02-F1B2F0EC4408}" type="presParOf" srcId="{85E440E1-6AC4-4872-8CDB-AACE7C1CF22B}" destId="{E899C35B-C03D-43B4-97ED-B99E3109D9FD}" srcOrd="0" destOrd="0" presId="urn:microsoft.com/office/officeart/2005/8/layout/process5"/>
    <dgm:cxn modelId="{E817A1B9-A45A-40F7-9E79-AA30F71A4315}" type="presParOf" srcId="{4D8136A5-3F30-45AA-B210-E6DC1A363333}" destId="{3302F8D1-6174-43B6-80F6-7ABEF5395251}" srcOrd="2" destOrd="0" presId="urn:microsoft.com/office/officeart/2005/8/layout/process5"/>
    <dgm:cxn modelId="{F5ACB64A-B9EE-4596-950E-796267825508}" type="presParOf" srcId="{4D8136A5-3F30-45AA-B210-E6DC1A363333}" destId="{1C1576F0-F965-43CA-B32A-271CCC8BBE86}" srcOrd="3" destOrd="0" presId="urn:microsoft.com/office/officeart/2005/8/layout/process5"/>
    <dgm:cxn modelId="{8CD5C7B3-DEE5-49F5-B3CD-4DA6A4FB955C}" type="presParOf" srcId="{1C1576F0-F965-43CA-B32A-271CCC8BBE86}" destId="{85F8F4F9-A189-4398-A8B3-F2745C1D6428}" srcOrd="0" destOrd="0" presId="urn:microsoft.com/office/officeart/2005/8/layout/process5"/>
    <dgm:cxn modelId="{6A0661AB-5979-4DA3-9D33-3394E66E5E97}" type="presParOf" srcId="{4D8136A5-3F30-45AA-B210-E6DC1A363333}" destId="{31C59386-C4B7-40D6-B155-A0CC8046E80A}" srcOrd="4" destOrd="0" presId="urn:microsoft.com/office/officeart/2005/8/layout/process5"/>
    <dgm:cxn modelId="{A4D07AA0-F451-4303-A8CC-D49FC239B67D}" type="presParOf" srcId="{4D8136A5-3F30-45AA-B210-E6DC1A363333}" destId="{129179D8-F1A1-40F4-9A2C-40E0816CEE97}" srcOrd="5" destOrd="0" presId="urn:microsoft.com/office/officeart/2005/8/layout/process5"/>
    <dgm:cxn modelId="{19EABEFB-2A7B-4259-9199-1F8DA4773438}" type="presParOf" srcId="{129179D8-F1A1-40F4-9A2C-40E0816CEE97}" destId="{5C3E99B5-E9A3-407F-8CEC-72BBE218F501}" srcOrd="0" destOrd="0" presId="urn:microsoft.com/office/officeart/2005/8/layout/process5"/>
    <dgm:cxn modelId="{F4D182FC-F89E-4482-996D-5E2676DA3C96}" type="presParOf" srcId="{4D8136A5-3F30-45AA-B210-E6DC1A363333}" destId="{690FBC40-FDDA-4C5F-B2B6-BA82ED89E8AB}" srcOrd="6" destOrd="0" presId="urn:microsoft.com/office/officeart/2005/8/layout/process5"/>
    <dgm:cxn modelId="{42EF34D5-C912-484F-8941-5F7E1EC96A2D}" type="presParOf" srcId="{4D8136A5-3F30-45AA-B210-E6DC1A363333}" destId="{712EC755-27ED-4385-B25F-5FC38AA796EA}" srcOrd="7" destOrd="0" presId="urn:microsoft.com/office/officeart/2005/8/layout/process5"/>
    <dgm:cxn modelId="{74A787FC-671A-44CB-B9D0-CD20D82D8CC5}" type="presParOf" srcId="{712EC755-27ED-4385-B25F-5FC38AA796EA}" destId="{A7C7801C-7FF8-4422-8F86-5DE2EFFBEAC9}" srcOrd="0" destOrd="0" presId="urn:microsoft.com/office/officeart/2005/8/layout/process5"/>
    <dgm:cxn modelId="{7AF8E011-2F18-4A35-AE83-46E3C4677383}" type="presParOf" srcId="{4D8136A5-3F30-45AA-B210-E6DC1A363333}" destId="{A3D97B7B-5134-4984-99E5-28CB9B4EF218}" srcOrd="8" destOrd="0" presId="urn:microsoft.com/office/officeart/2005/8/layout/process5"/>
    <dgm:cxn modelId="{48412CB2-7927-4D61-AF38-3EDD949B4955}" type="presParOf" srcId="{4D8136A5-3F30-45AA-B210-E6DC1A363333}" destId="{93ED5C7C-D354-4B63-B1A5-98F30573BA3F}" srcOrd="9" destOrd="0" presId="urn:microsoft.com/office/officeart/2005/8/layout/process5"/>
    <dgm:cxn modelId="{EA867FD8-F75B-486A-82FC-E5EDD494282E}" type="presParOf" srcId="{93ED5C7C-D354-4B63-B1A5-98F30573BA3F}" destId="{3F1C6988-5F4F-4DB3-B9AC-112C7018D945}" srcOrd="0" destOrd="0" presId="urn:microsoft.com/office/officeart/2005/8/layout/process5"/>
    <dgm:cxn modelId="{001FFD8C-6138-41ED-B9E2-DDC511F1A7DF}" type="presParOf" srcId="{4D8136A5-3F30-45AA-B210-E6DC1A363333}" destId="{DCD2E134-18E4-4A63-985E-935770130ECA}" srcOrd="10" destOrd="0" presId="urn:microsoft.com/office/officeart/2005/8/layout/process5"/>
    <dgm:cxn modelId="{2F5429A9-0B47-4B9B-B4B3-F4EA657E8222}" type="presParOf" srcId="{4D8136A5-3F30-45AA-B210-E6DC1A363333}" destId="{34B32203-6E3D-4FC3-8C20-BA232E1118F8}" srcOrd="11" destOrd="0" presId="urn:microsoft.com/office/officeart/2005/8/layout/process5"/>
    <dgm:cxn modelId="{09AB28CF-D1AD-4471-B040-54B60AAE9E8C}" type="presParOf" srcId="{34B32203-6E3D-4FC3-8C20-BA232E1118F8}" destId="{D3222887-04A1-4CCD-8880-440D470B6952}" srcOrd="0" destOrd="0" presId="urn:microsoft.com/office/officeart/2005/8/layout/process5"/>
    <dgm:cxn modelId="{290736A8-872B-4877-AA54-25AE58C91F28}" type="presParOf" srcId="{4D8136A5-3F30-45AA-B210-E6DC1A363333}" destId="{3784431B-A1D2-4F51-BAB6-613E7DE2F203}" srcOrd="12" destOrd="0" presId="urn:microsoft.com/office/officeart/2005/8/layout/process5"/>
    <dgm:cxn modelId="{88C64687-DFA7-434E-A395-C8B1481654B5}" type="presParOf" srcId="{4D8136A5-3F30-45AA-B210-E6DC1A363333}" destId="{62B8C3F5-D24E-4911-9A28-DC73917E4F97}" srcOrd="13" destOrd="0" presId="urn:microsoft.com/office/officeart/2005/8/layout/process5"/>
    <dgm:cxn modelId="{18F834CB-BE91-4CEE-9879-74E9CDA67540}" type="presParOf" srcId="{62B8C3F5-D24E-4911-9A28-DC73917E4F97}" destId="{DD705FBE-A0A7-4B15-807E-53BFF40C8CD6}" srcOrd="0" destOrd="0" presId="urn:microsoft.com/office/officeart/2005/8/layout/process5"/>
    <dgm:cxn modelId="{7E79E840-6FDC-4EEE-86D6-5BF18C927778}" type="presParOf" srcId="{4D8136A5-3F30-45AA-B210-E6DC1A363333}" destId="{F3AB15D3-FABF-4B10-B398-3E5BFB0B7C14}" srcOrd="14" destOrd="0" presId="urn:microsoft.com/office/officeart/2005/8/layout/process5"/>
    <dgm:cxn modelId="{D53967D8-46ED-4201-8237-C8554D2136C2}" type="presParOf" srcId="{4D8136A5-3F30-45AA-B210-E6DC1A363333}" destId="{BCC3FB23-5361-48DA-8D73-5F5B8257D0BC}" srcOrd="15" destOrd="0" presId="urn:microsoft.com/office/officeart/2005/8/layout/process5"/>
    <dgm:cxn modelId="{70E5487C-070C-4E62-B5A5-041F5D98EB7D}" type="presParOf" srcId="{BCC3FB23-5361-48DA-8D73-5F5B8257D0BC}" destId="{7C720342-5D4D-4662-BB66-7DCB0B22EF19}" srcOrd="0" destOrd="0" presId="urn:microsoft.com/office/officeart/2005/8/layout/process5"/>
    <dgm:cxn modelId="{979B29CF-6ACD-43F9-AA95-CACE9AB4C745}" type="presParOf" srcId="{4D8136A5-3F30-45AA-B210-E6DC1A363333}" destId="{8E878BC4-8912-4178-9F2E-63BF1ECFFBEA}" srcOrd="16" destOrd="0" presId="urn:microsoft.com/office/officeart/2005/8/layout/process5"/>
    <dgm:cxn modelId="{C7B2C97F-AA2A-44BF-AEEB-89BCBBB00826}" type="presParOf" srcId="{4D8136A5-3F30-45AA-B210-E6DC1A363333}" destId="{C59C0CB7-149E-4435-B690-0528D8EFBEA5}" srcOrd="17" destOrd="0" presId="urn:microsoft.com/office/officeart/2005/8/layout/process5"/>
    <dgm:cxn modelId="{4E937D93-EEAE-45BC-85AD-BC802502B11E}" type="presParOf" srcId="{C59C0CB7-149E-4435-B690-0528D8EFBEA5}" destId="{32E00774-6B19-4CAA-A09B-1A2C4D70DCFA}" srcOrd="0" destOrd="0" presId="urn:microsoft.com/office/officeart/2005/8/layout/process5"/>
    <dgm:cxn modelId="{D58DDAC1-CEAE-4D51-ACAC-69206B5FD6BC}" type="presParOf" srcId="{4D8136A5-3F30-45AA-B210-E6DC1A363333}" destId="{943BC048-A90D-4D9E-9821-A85ACAC327CA}" srcOrd="18" destOrd="0" presId="urn:microsoft.com/office/officeart/2005/8/layout/process5"/>
    <dgm:cxn modelId="{89562D92-714E-4D25-8AD6-1CC2380C1522}" type="presParOf" srcId="{4D8136A5-3F30-45AA-B210-E6DC1A363333}" destId="{62E498A3-2517-45DC-9A8A-B34427D9BB6A}" srcOrd="19" destOrd="0" presId="urn:microsoft.com/office/officeart/2005/8/layout/process5"/>
    <dgm:cxn modelId="{6CBC7B8C-7CBF-49D5-9BD1-3FF40E62B333}" type="presParOf" srcId="{62E498A3-2517-45DC-9A8A-B34427D9BB6A}" destId="{FECEF29F-53FE-447A-BFEB-12F0A2DF6317}" srcOrd="0" destOrd="0" presId="urn:microsoft.com/office/officeart/2005/8/layout/process5"/>
    <dgm:cxn modelId="{5A6CC0CD-94EE-4BF7-B369-3AA0ED361163}" type="presParOf" srcId="{4D8136A5-3F30-45AA-B210-E6DC1A363333}" destId="{C2AC126E-D58A-4775-9E89-4DDBC214AEC1}" srcOrd="20" destOrd="0" presId="urn:microsoft.com/office/officeart/2005/8/layout/process5"/>
    <dgm:cxn modelId="{78C4D3FE-4C1B-4514-96A2-D25810C9A0C5}" type="presParOf" srcId="{4D8136A5-3F30-45AA-B210-E6DC1A363333}" destId="{65357D0F-DA24-4B22-B866-9C5F45D83539}" srcOrd="21" destOrd="0" presId="urn:microsoft.com/office/officeart/2005/8/layout/process5"/>
    <dgm:cxn modelId="{F171467F-D9C7-477C-BF92-7AA567C4DC07}" type="presParOf" srcId="{65357D0F-DA24-4B22-B866-9C5F45D83539}" destId="{1406B004-60F2-4DD9-810B-680BEBC77DF8}" srcOrd="0" destOrd="0" presId="urn:microsoft.com/office/officeart/2005/8/layout/process5"/>
    <dgm:cxn modelId="{59EADA2F-5070-4E09-ABBE-5EDE616C11DE}" type="presParOf" srcId="{4D8136A5-3F30-45AA-B210-E6DC1A363333}" destId="{D6E5D510-5AE4-40FC-8E5D-C5B3280B3071}" srcOrd="22" destOrd="0" presId="urn:microsoft.com/office/officeart/2005/8/layout/process5"/>
    <dgm:cxn modelId="{A552CF76-5656-44F1-AB3C-F1A023907A59}" type="presParOf" srcId="{4D8136A5-3F30-45AA-B210-E6DC1A363333}" destId="{F0D65399-0147-47D5-9455-0DE6DE7AB3D4}" srcOrd="23" destOrd="0" presId="urn:microsoft.com/office/officeart/2005/8/layout/process5"/>
    <dgm:cxn modelId="{327668ED-8F76-4293-B651-752088A5F09E}" type="presParOf" srcId="{F0D65399-0147-47D5-9455-0DE6DE7AB3D4}" destId="{B0EB730C-F0B6-4ACB-9FE9-C5BD5E852DC9}" srcOrd="0" destOrd="0" presId="urn:microsoft.com/office/officeart/2005/8/layout/process5"/>
    <dgm:cxn modelId="{BBA9EB52-6379-4649-B59F-997FC0685E4F}" type="presParOf" srcId="{4D8136A5-3F30-45AA-B210-E6DC1A363333}" destId="{85255D68-460B-43F3-98F6-D967AFF13228}" srcOrd="24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7AF0873-654F-4510-AB3A-6BCD089DABC3}" type="doc">
      <dgm:prSet loTypeId="urn:microsoft.com/office/officeart/2005/8/layout/process5" loCatId="process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cs-CZ"/>
        </a:p>
      </dgm:t>
    </dgm:pt>
    <dgm:pt modelId="{828DDA33-30BE-4304-96ED-9AEB1F2D1440}">
      <dgm:prSet phldrT="[Text]"/>
      <dgm:spPr>
        <a:solidFill>
          <a:srgbClr val="92D050"/>
        </a:solidFill>
      </dgm:spPr>
      <dgm:t>
        <a:bodyPr/>
        <a:lstStyle/>
        <a:p>
          <a:r>
            <a:rPr lang="cs-CZ" b="1" dirty="0">
              <a:solidFill>
                <a:schemeClr val="bg1"/>
              </a:solidFill>
            </a:rPr>
            <a:t>Příprava a zahájení procesu</a:t>
          </a:r>
        </a:p>
      </dgm:t>
    </dgm:pt>
    <dgm:pt modelId="{9889BE34-551F-47E7-AC0E-AA0FEE0F020E}" type="parTrans" cxnId="{804E70A9-EA36-491E-B04B-ACF29D2FBDE3}">
      <dgm:prSet/>
      <dgm:spPr/>
      <dgm:t>
        <a:bodyPr/>
        <a:lstStyle/>
        <a:p>
          <a:endParaRPr lang="cs-CZ"/>
        </a:p>
      </dgm:t>
    </dgm:pt>
    <dgm:pt modelId="{E05485B6-08D1-4577-8682-F888C3815FF3}" type="sibTrans" cxnId="{804E70A9-EA36-491E-B04B-ACF29D2FBDE3}">
      <dgm:prSet/>
      <dgm:spPr/>
      <dgm:t>
        <a:bodyPr/>
        <a:lstStyle/>
        <a:p>
          <a:endParaRPr lang="cs-CZ" b="0"/>
        </a:p>
      </dgm:t>
    </dgm:pt>
    <dgm:pt modelId="{0341CAE2-BF61-4125-A2D2-50B7A2DFB1AF}">
      <dgm:prSet phldrT="[Text]"/>
      <dgm:spPr/>
      <dgm:t>
        <a:bodyPr/>
        <a:lstStyle/>
        <a:p>
          <a:r>
            <a:rPr lang="cs-CZ" b="1" dirty="0"/>
            <a:t>Vyjádření zájmu</a:t>
          </a:r>
        </a:p>
      </dgm:t>
    </dgm:pt>
    <dgm:pt modelId="{81B57D60-3280-41DE-BB06-F8CC6ECB26E4}" type="parTrans" cxnId="{427BF72B-8F13-48F0-96C0-CC168F2D96E1}">
      <dgm:prSet/>
      <dgm:spPr/>
      <dgm:t>
        <a:bodyPr/>
        <a:lstStyle/>
        <a:p>
          <a:endParaRPr lang="cs-CZ"/>
        </a:p>
      </dgm:t>
    </dgm:pt>
    <dgm:pt modelId="{45A0EDDB-61F2-45A5-AF24-1B927586809F}" type="sibTrans" cxnId="{427BF72B-8F13-48F0-96C0-CC168F2D96E1}">
      <dgm:prSet/>
      <dgm:spPr/>
      <dgm:t>
        <a:bodyPr/>
        <a:lstStyle/>
        <a:p>
          <a:endParaRPr lang="cs-CZ" b="0"/>
        </a:p>
      </dgm:t>
    </dgm:pt>
    <dgm:pt modelId="{47EE3148-0776-456F-9F1A-F35C6A434C88}">
      <dgm:prSet phldrT="[Text]"/>
      <dgm:spPr/>
      <dgm:t>
        <a:bodyPr/>
        <a:lstStyle/>
        <a:p>
          <a:r>
            <a:rPr lang="cs-CZ" b="1" dirty="0" err="1"/>
            <a:t>Due</a:t>
          </a:r>
          <a:r>
            <a:rPr lang="cs-CZ" b="1" dirty="0"/>
            <a:t> Diligence (Data </a:t>
          </a:r>
          <a:r>
            <a:rPr lang="cs-CZ" b="1" dirty="0" err="1"/>
            <a:t>Room</a:t>
          </a:r>
          <a:r>
            <a:rPr lang="cs-CZ" b="1" dirty="0"/>
            <a:t>)</a:t>
          </a:r>
          <a:endParaRPr lang="cs-CZ" b="0" i="1" dirty="0"/>
        </a:p>
      </dgm:t>
    </dgm:pt>
    <dgm:pt modelId="{FD253779-7136-45DA-BE4D-46BB0CC7C935}" type="parTrans" cxnId="{897E43D7-93FE-4C90-9682-63EC0B81F7F6}">
      <dgm:prSet/>
      <dgm:spPr/>
      <dgm:t>
        <a:bodyPr/>
        <a:lstStyle/>
        <a:p>
          <a:endParaRPr lang="cs-CZ"/>
        </a:p>
      </dgm:t>
    </dgm:pt>
    <dgm:pt modelId="{C63C4564-8E39-4EA2-BEBF-D5DE288C243E}" type="sibTrans" cxnId="{897E43D7-93FE-4C90-9682-63EC0B81F7F6}">
      <dgm:prSet/>
      <dgm:spPr/>
      <dgm:t>
        <a:bodyPr/>
        <a:lstStyle/>
        <a:p>
          <a:endParaRPr lang="cs-CZ" b="0"/>
        </a:p>
      </dgm:t>
    </dgm:pt>
    <dgm:pt modelId="{E36F3098-A487-4F3C-9358-D52BB6453AE9}">
      <dgm:prSet phldrT="[Text]"/>
      <dgm:spPr/>
      <dgm:t>
        <a:bodyPr/>
        <a:lstStyle/>
        <a:p>
          <a:r>
            <a:rPr lang="cs-CZ" b="1" dirty="0"/>
            <a:t>Návrh kupní smlouvy (</a:t>
          </a:r>
          <a:r>
            <a:rPr lang="cs-CZ" b="1" dirty="0" err="1"/>
            <a:t>SPA</a:t>
          </a:r>
          <a:r>
            <a:rPr lang="cs-CZ" b="1" dirty="0"/>
            <a:t>) </a:t>
          </a:r>
        </a:p>
        <a:p>
          <a:r>
            <a:rPr lang="cs-CZ" b="1" dirty="0"/>
            <a:t>- prodávající</a:t>
          </a:r>
          <a:endParaRPr lang="cs-CZ" b="1" i="0" dirty="0"/>
        </a:p>
      </dgm:t>
    </dgm:pt>
    <dgm:pt modelId="{9696FCA6-6BFA-4740-AE3B-083B50C6A2D7}" type="parTrans" cxnId="{DE37A468-AE50-49A7-BCB3-297A95A94BD3}">
      <dgm:prSet/>
      <dgm:spPr/>
      <dgm:t>
        <a:bodyPr/>
        <a:lstStyle/>
        <a:p>
          <a:endParaRPr lang="cs-CZ"/>
        </a:p>
      </dgm:t>
    </dgm:pt>
    <dgm:pt modelId="{CA084B63-C96F-4D82-BB5B-8CE34F4C5753}" type="sibTrans" cxnId="{DE37A468-AE50-49A7-BCB3-297A95A94BD3}">
      <dgm:prSet/>
      <dgm:spPr/>
      <dgm:t>
        <a:bodyPr/>
        <a:lstStyle/>
        <a:p>
          <a:endParaRPr lang="cs-CZ" b="0"/>
        </a:p>
      </dgm:t>
    </dgm:pt>
    <dgm:pt modelId="{12574AEE-5EC3-43F0-A290-DD626A6A3D2A}">
      <dgm:prSet phldrT="[Text]"/>
      <dgm:spPr/>
      <dgm:t>
        <a:bodyPr/>
        <a:lstStyle/>
        <a:p>
          <a:r>
            <a:rPr lang="cs-CZ" b="1" i="0" dirty="0"/>
            <a:t>„závazné“ nabídky zájemce/</a:t>
          </a:r>
          <a:r>
            <a:rPr lang="cs-CZ" b="1" i="0" dirty="0" err="1"/>
            <a:t>ců</a:t>
          </a:r>
          <a:endParaRPr lang="cs-CZ" b="1" dirty="0"/>
        </a:p>
      </dgm:t>
    </dgm:pt>
    <dgm:pt modelId="{3A0F5F3C-2717-4680-9785-411A3E5497D8}" type="parTrans" cxnId="{8A54F515-F373-445E-85BA-DB1B00DF4289}">
      <dgm:prSet/>
      <dgm:spPr/>
      <dgm:t>
        <a:bodyPr/>
        <a:lstStyle/>
        <a:p>
          <a:endParaRPr lang="cs-CZ"/>
        </a:p>
      </dgm:t>
    </dgm:pt>
    <dgm:pt modelId="{55D46958-042F-4551-954D-3312B70F3054}" type="sibTrans" cxnId="{8A54F515-F373-445E-85BA-DB1B00DF4289}">
      <dgm:prSet/>
      <dgm:spPr/>
      <dgm:t>
        <a:bodyPr/>
        <a:lstStyle/>
        <a:p>
          <a:endParaRPr lang="cs-CZ" b="0"/>
        </a:p>
      </dgm:t>
    </dgm:pt>
    <dgm:pt modelId="{6CFB25D3-8C64-4BEA-9B7A-C8ECD1D5AAC7}">
      <dgm:prSet phldrT="[Text]"/>
      <dgm:spPr/>
      <dgm:t>
        <a:bodyPr/>
        <a:lstStyle/>
        <a:p>
          <a:r>
            <a:rPr lang="cs-CZ" b="1" dirty="0" err="1"/>
            <a:t>Shortlist</a:t>
          </a:r>
          <a:r>
            <a:rPr lang="cs-CZ" b="1" dirty="0"/>
            <a:t> (další kolo nabídek)</a:t>
          </a:r>
        </a:p>
      </dgm:t>
    </dgm:pt>
    <dgm:pt modelId="{7B535D39-084B-475A-BD2B-95C5706F2DEA}" type="parTrans" cxnId="{E490F33F-9DF3-4114-9481-E785DEB28ECD}">
      <dgm:prSet/>
      <dgm:spPr/>
      <dgm:t>
        <a:bodyPr/>
        <a:lstStyle/>
        <a:p>
          <a:endParaRPr lang="cs-CZ"/>
        </a:p>
      </dgm:t>
    </dgm:pt>
    <dgm:pt modelId="{E0C8D7CD-B0EE-41BC-922C-EAFC18EBC08D}" type="sibTrans" cxnId="{E490F33F-9DF3-4114-9481-E785DEB28ECD}">
      <dgm:prSet/>
      <dgm:spPr/>
      <dgm:t>
        <a:bodyPr/>
        <a:lstStyle/>
        <a:p>
          <a:endParaRPr lang="cs-CZ" b="0"/>
        </a:p>
      </dgm:t>
    </dgm:pt>
    <dgm:pt modelId="{5404560D-1EFB-4624-945D-4DD8989990AA}">
      <dgm:prSet phldrT="[Text]"/>
      <dgm:spPr/>
      <dgm:t>
        <a:bodyPr/>
        <a:lstStyle/>
        <a:p>
          <a:r>
            <a:rPr lang="cs-CZ" b="1" i="0" dirty="0"/>
            <a:t>Vypořádání (</a:t>
          </a:r>
          <a:r>
            <a:rPr lang="cs-CZ" b="1" i="0" dirty="0" err="1"/>
            <a:t>Closing</a:t>
          </a:r>
          <a:r>
            <a:rPr lang="cs-CZ" b="1" i="0" dirty="0"/>
            <a:t>)</a:t>
          </a:r>
        </a:p>
      </dgm:t>
    </dgm:pt>
    <dgm:pt modelId="{A6F9399C-F054-42CD-AF06-B73D12F69D7A}" type="parTrans" cxnId="{637455A0-BCEF-4CC8-AA16-4A2F403EF6B6}">
      <dgm:prSet/>
      <dgm:spPr/>
      <dgm:t>
        <a:bodyPr/>
        <a:lstStyle/>
        <a:p>
          <a:endParaRPr lang="cs-CZ"/>
        </a:p>
      </dgm:t>
    </dgm:pt>
    <dgm:pt modelId="{B3305FBD-2A98-4A5D-9448-5B552679D00A}" type="sibTrans" cxnId="{637455A0-BCEF-4CC8-AA16-4A2F403EF6B6}">
      <dgm:prSet/>
      <dgm:spPr/>
      <dgm:t>
        <a:bodyPr/>
        <a:lstStyle/>
        <a:p>
          <a:endParaRPr lang="cs-CZ" b="0"/>
        </a:p>
      </dgm:t>
    </dgm:pt>
    <dgm:pt modelId="{44BCA2F7-4DFE-40B0-BF36-395295EDAF37}">
      <dgm:prSet phldrT="[Text]"/>
      <dgm:spPr/>
      <dgm:t>
        <a:bodyPr/>
        <a:lstStyle/>
        <a:p>
          <a:r>
            <a:rPr lang="cs-CZ" b="1" i="0" dirty="0"/>
            <a:t>Úpravy ceny / </a:t>
          </a:r>
          <a:r>
            <a:rPr lang="cs-CZ" b="1" i="0" dirty="0" err="1"/>
            <a:t>Closing</a:t>
          </a:r>
          <a:r>
            <a:rPr lang="cs-CZ" b="1" i="0" dirty="0"/>
            <a:t> </a:t>
          </a:r>
          <a:r>
            <a:rPr lang="cs-CZ" b="1" i="0" dirty="0" err="1"/>
            <a:t>Accounts</a:t>
          </a:r>
          <a:endParaRPr lang="cs-CZ" b="1" i="0" dirty="0"/>
        </a:p>
      </dgm:t>
    </dgm:pt>
    <dgm:pt modelId="{234B0C10-ADBC-4532-939F-A8C683BC36CE}" type="parTrans" cxnId="{6D7D6F01-4333-4756-8396-7FC49A3670C0}">
      <dgm:prSet/>
      <dgm:spPr/>
      <dgm:t>
        <a:bodyPr/>
        <a:lstStyle/>
        <a:p>
          <a:endParaRPr lang="cs-CZ"/>
        </a:p>
      </dgm:t>
    </dgm:pt>
    <dgm:pt modelId="{1A483732-DEE2-49AC-8401-AC4547915754}" type="sibTrans" cxnId="{6D7D6F01-4333-4756-8396-7FC49A3670C0}">
      <dgm:prSet/>
      <dgm:spPr/>
      <dgm:t>
        <a:bodyPr/>
        <a:lstStyle/>
        <a:p>
          <a:endParaRPr lang="cs-CZ" b="0"/>
        </a:p>
      </dgm:t>
    </dgm:pt>
    <dgm:pt modelId="{553D5A18-350A-4DE4-801A-BA63244DF558}">
      <dgm:prSet phldrT="[Text]"/>
      <dgm:spPr>
        <a:solidFill>
          <a:srgbClr val="FF0000"/>
        </a:solidFill>
      </dgm:spPr>
      <dgm:t>
        <a:bodyPr/>
        <a:lstStyle/>
        <a:p>
          <a:r>
            <a:rPr lang="cs-CZ" b="1" i="0" dirty="0"/>
            <a:t>Následné podmínky / </a:t>
          </a:r>
          <a:r>
            <a:rPr lang="cs-CZ" b="1" i="0" dirty="0" err="1"/>
            <a:t>CSs</a:t>
          </a:r>
          <a:endParaRPr lang="cs-CZ" b="1" i="0" dirty="0"/>
        </a:p>
      </dgm:t>
    </dgm:pt>
    <dgm:pt modelId="{F04A867C-C9DF-4817-B7C1-5ADA3A0294E9}" type="parTrans" cxnId="{D8A83B5A-B7FD-4E95-96C6-CDEAEE73EBDA}">
      <dgm:prSet/>
      <dgm:spPr/>
      <dgm:t>
        <a:bodyPr/>
        <a:lstStyle/>
        <a:p>
          <a:endParaRPr lang="cs-CZ"/>
        </a:p>
      </dgm:t>
    </dgm:pt>
    <dgm:pt modelId="{A03E3999-B985-4024-BAA2-419DE862652E}" type="sibTrans" cxnId="{D8A83B5A-B7FD-4E95-96C6-CDEAEE73EBDA}">
      <dgm:prSet/>
      <dgm:spPr/>
      <dgm:t>
        <a:bodyPr/>
        <a:lstStyle/>
        <a:p>
          <a:endParaRPr lang="cs-CZ"/>
        </a:p>
      </dgm:t>
    </dgm:pt>
    <dgm:pt modelId="{038ACFA8-6696-43DC-899D-088F7FC66C29}">
      <dgm:prSet/>
      <dgm:spPr/>
      <dgm:t>
        <a:bodyPr/>
        <a:lstStyle/>
        <a:p>
          <a:r>
            <a:rPr lang="cs-CZ" b="1" dirty="0" err="1"/>
            <a:t>Teaser</a:t>
          </a:r>
          <a:endParaRPr lang="cs-CZ" b="1" dirty="0"/>
        </a:p>
      </dgm:t>
    </dgm:pt>
    <dgm:pt modelId="{23EED50F-5125-4E38-9277-485AA98FCA23}" type="parTrans" cxnId="{C088EA08-4890-4D98-8759-AE03100871AF}">
      <dgm:prSet/>
      <dgm:spPr/>
      <dgm:t>
        <a:bodyPr/>
        <a:lstStyle/>
        <a:p>
          <a:endParaRPr lang="cs-CZ"/>
        </a:p>
      </dgm:t>
    </dgm:pt>
    <dgm:pt modelId="{6AB55C8A-DBA9-4D38-8478-835B489DDB00}" type="sibTrans" cxnId="{C088EA08-4890-4D98-8759-AE03100871AF}">
      <dgm:prSet/>
      <dgm:spPr/>
      <dgm:t>
        <a:bodyPr/>
        <a:lstStyle/>
        <a:p>
          <a:endParaRPr lang="cs-CZ"/>
        </a:p>
      </dgm:t>
    </dgm:pt>
    <dgm:pt modelId="{89CBCCFC-6C22-4178-B8E1-81BF7B748E76}">
      <dgm:prSet/>
      <dgm:spPr/>
      <dgm:t>
        <a:bodyPr/>
        <a:lstStyle/>
        <a:p>
          <a:r>
            <a:rPr lang="cs-CZ" b="1" dirty="0"/>
            <a:t>Vyhledání a oslovení zájemce/</a:t>
          </a:r>
          <a:r>
            <a:rPr lang="cs-CZ" b="1" dirty="0" err="1"/>
            <a:t>ců</a:t>
          </a:r>
          <a:endParaRPr lang="cs-CZ" b="1" dirty="0"/>
        </a:p>
      </dgm:t>
    </dgm:pt>
    <dgm:pt modelId="{A0D5F88D-1DB9-4233-A2EF-82F593464D50}" type="parTrans" cxnId="{B1400948-C942-4F42-BD14-199378937220}">
      <dgm:prSet/>
      <dgm:spPr/>
      <dgm:t>
        <a:bodyPr/>
        <a:lstStyle/>
        <a:p>
          <a:endParaRPr lang="cs-CZ"/>
        </a:p>
      </dgm:t>
    </dgm:pt>
    <dgm:pt modelId="{D65FE824-26ED-4D52-961F-7E457BF69F6F}" type="sibTrans" cxnId="{B1400948-C942-4F42-BD14-199378937220}">
      <dgm:prSet/>
      <dgm:spPr/>
      <dgm:t>
        <a:bodyPr/>
        <a:lstStyle/>
        <a:p>
          <a:endParaRPr lang="cs-CZ"/>
        </a:p>
      </dgm:t>
    </dgm:pt>
    <dgm:pt modelId="{CD1244F4-66CB-4D8B-9E9B-AE3EB96C182A}">
      <dgm:prSet phldrT="[Text]"/>
      <dgm:spPr/>
      <dgm:t>
        <a:bodyPr/>
        <a:lstStyle/>
        <a:p>
          <a:r>
            <a:rPr lang="cs-CZ" b="1" dirty="0"/>
            <a:t>Dohoda o mlčenlivosti (</a:t>
          </a:r>
          <a:r>
            <a:rPr lang="cs-CZ" b="1" dirty="0" err="1"/>
            <a:t>NDA</a:t>
          </a:r>
          <a:r>
            <a:rPr lang="cs-CZ" b="1" dirty="0"/>
            <a:t>)</a:t>
          </a:r>
        </a:p>
      </dgm:t>
    </dgm:pt>
    <dgm:pt modelId="{90834F6D-9528-41EE-8FC9-5D8C5006376C}" type="parTrans" cxnId="{6DAB374B-6E26-450D-BEBE-97495456D143}">
      <dgm:prSet/>
      <dgm:spPr/>
      <dgm:t>
        <a:bodyPr/>
        <a:lstStyle/>
        <a:p>
          <a:endParaRPr lang="cs-CZ"/>
        </a:p>
      </dgm:t>
    </dgm:pt>
    <dgm:pt modelId="{FC464D58-97C5-47A6-91FD-DB758F23CE4E}" type="sibTrans" cxnId="{6DAB374B-6E26-450D-BEBE-97495456D143}">
      <dgm:prSet/>
      <dgm:spPr/>
      <dgm:t>
        <a:bodyPr/>
        <a:lstStyle/>
        <a:p>
          <a:endParaRPr lang="cs-CZ"/>
        </a:p>
      </dgm:t>
    </dgm:pt>
    <dgm:pt modelId="{083A116A-8B71-4FB5-878D-7FD48B447B40}">
      <dgm:prSet/>
      <dgm:spPr/>
      <dgm:t>
        <a:bodyPr/>
        <a:lstStyle/>
        <a:p>
          <a:r>
            <a:rPr lang="cs-CZ" b="1" dirty="0"/>
            <a:t>Informační Memorandum</a:t>
          </a:r>
        </a:p>
      </dgm:t>
    </dgm:pt>
    <dgm:pt modelId="{504F7A39-417D-40CD-939B-9AAD401AF2F2}" type="parTrans" cxnId="{9859E7B5-966F-4169-9900-671C436A41BF}">
      <dgm:prSet/>
      <dgm:spPr/>
      <dgm:t>
        <a:bodyPr/>
        <a:lstStyle/>
        <a:p>
          <a:endParaRPr lang="cs-CZ"/>
        </a:p>
      </dgm:t>
    </dgm:pt>
    <dgm:pt modelId="{3FC39E48-8331-43A2-AF6A-256B73F47CB1}" type="sibTrans" cxnId="{9859E7B5-966F-4169-9900-671C436A41BF}">
      <dgm:prSet/>
      <dgm:spPr/>
      <dgm:t>
        <a:bodyPr/>
        <a:lstStyle/>
        <a:p>
          <a:endParaRPr lang="cs-CZ"/>
        </a:p>
      </dgm:t>
    </dgm:pt>
    <dgm:pt modelId="{2155DCCE-DB39-4C0C-B406-DC7D030A2E6A}">
      <dgm:prSet/>
      <dgm:spPr/>
      <dgm:t>
        <a:bodyPr/>
        <a:lstStyle/>
        <a:p>
          <a:r>
            <a:rPr lang="cs-CZ" b="1" dirty="0"/>
            <a:t>Management </a:t>
          </a:r>
          <a:r>
            <a:rPr lang="cs-CZ" b="1" dirty="0" err="1"/>
            <a:t>Presentations</a:t>
          </a:r>
          <a:endParaRPr lang="cs-CZ" b="1" dirty="0"/>
        </a:p>
      </dgm:t>
    </dgm:pt>
    <dgm:pt modelId="{98130944-0B55-4255-96E3-3077CF4A71EE}" type="parTrans" cxnId="{90AB698E-FC20-4D29-A75C-58A2F4201556}">
      <dgm:prSet/>
      <dgm:spPr/>
      <dgm:t>
        <a:bodyPr/>
        <a:lstStyle/>
        <a:p>
          <a:endParaRPr lang="cs-CZ"/>
        </a:p>
      </dgm:t>
    </dgm:pt>
    <dgm:pt modelId="{F47361FE-E197-4CD0-A4E9-3132A27B89A5}" type="sibTrans" cxnId="{90AB698E-FC20-4D29-A75C-58A2F4201556}">
      <dgm:prSet/>
      <dgm:spPr/>
      <dgm:t>
        <a:bodyPr/>
        <a:lstStyle/>
        <a:p>
          <a:endParaRPr lang="cs-CZ"/>
        </a:p>
      </dgm:t>
    </dgm:pt>
    <dgm:pt modelId="{93C1800D-0E62-4BB2-ABD2-DA7F876B2756}">
      <dgm:prSet phldrT="[Text]"/>
      <dgm:spPr/>
      <dgm:t>
        <a:bodyPr/>
        <a:lstStyle/>
        <a:p>
          <a:r>
            <a:rPr lang="cs-CZ" b="1" dirty="0"/>
            <a:t>Indikativní (nezávazné) nabídky</a:t>
          </a:r>
        </a:p>
      </dgm:t>
    </dgm:pt>
    <dgm:pt modelId="{10C331F2-582C-4E9E-91FA-998D52E6398E}" type="parTrans" cxnId="{8E3C1204-1061-427E-8D33-329C62E504E2}">
      <dgm:prSet/>
      <dgm:spPr/>
      <dgm:t>
        <a:bodyPr/>
        <a:lstStyle/>
        <a:p>
          <a:endParaRPr lang="cs-CZ"/>
        </a:p>
      </dgm:t>
    </dgm:pt>
    <dgm:pt modelId="{11003004-D867-45DB-B8EC-C4A44486952A}" type="sibTrans" cxnId="{8E3C1204-1061-427E-8D33-329C62E504E2}">
      <dgm:prSet/>
      <dgm:spPr/>
      <dgm:t>
        <a:bodyPr/>
        <a:lstStyle/>
        <a:p>
          <a:endParaRPr lang="cs-CZ"/>
        </a:p>
      </dgm:t>
    </dgm:pt>
    <dgm:pt modelId="{99ADBFAE-BFD6-4EC6-862A-0AD1BE585FA5}">
      <dgm:prSet phldrT="[Text]"/>
      <dgm:spPr/>
      <dgm:t>
        <a:bodyPr/>
        <a:lstStyle/>
        <a:p>
          <a:r>
            <a:rPr lang="cs-CZ" b="1" dirty="0"/>
            <a:t>Jednání, dohoda („</a:t>
          </a:r>
          <a:r>
            <a:rPr lang="cs-CZ" b="1" dirty="0" err="1"/>
            <a:t>Agreed</a:t>
          </a:r>
          <a:r>
            <a:rPr lang="cs-CZ" b="1" dirty="0"/>
            <a:t> </a:t>
          </a:r>
          <a:r>
            <a:rPr lang="cs-CZ" b="1" dirty="0" err="1"/>
            <a:t>form</a:t>
          </a:r>
          <a:r>
            <a:rPr lang="cs-CZ" b="1" dirty="0"/>
            <a:t> </a:t>
          </a:r>
          <a:r>
            <a:rPr lang="cs-CZ" b="1" dirty="0" err="1"/>
            <a:t>SPA</a:t>
          </a:r>
          <a:r>
            <a:rPr lang="cs-CZ" b="1" dirty="0"/>
            <a:t>“)</a:t>
          </a:r>
        </a:p>
      </dgm:t>
    </dgm:pt>
    <dgm:pt modelId="{BCB1D8C4-BBD6-4376-BF98-1ECFDDAB2AC9}" type="parTrans" cxnId="{4FC943E2-C3F8-40A5-863A-9C9DD599D656}">
      <dgm:prSet/>
      <dgm:spPr/>
      <dgm:t>
        <a:bodyPr/>
        <a:lstStyle/>
        <a:p>
          <a:endParaRPr lang="cs-CZ"/>
        </a:p>
      </dgm:t>
    </dgm:pt>
    <dgm:pt modelId="{F97EB4DB-AAAB-405E-AFD2-5BD91C301B50}" type="sibTrans" cxnId="{4FC943E2-C3F8-40A5-863A-9C9DD599D656}">
      <dgm:prSet/>
      <dgm:spPr/>
      <dgm:t>
        <a:bodyPr/>
        <a:lstStyle/>
        <a:p>
          <a:endParaRPr lang="cs-CZ"/>
        </a:p>
      </dgm:t>
    </dgm:pt>
    <dgm:pt modelId="{A188EE17-6569-4849-8482-64537CB36C5B}">
      <dgm:prSet phldrT="[Text]"/>
      <dgm:spPr/>
      <dgm:t>
        <a:bodyPr/>
        <a:lstStyle/>
        <a:p>
          <a:r>
            <a:rPr lang="cs-CZ" b="1" dirty="0"/>
            <a:t>Podpis (</a:t>
          </a:r>
          <a:r>
            <a:rPr lang="cs-CZ" b="1" dirty="0" err="1"/>
            <a:t>Signing</a:t>
          </a:r>
          <a:r>
            <a:rPr lang="cs-CZ" b="1" dirty="0"/>
            <a:t>)</a:t>
          </a:r>
          <a:endParaRPr lang="cs-CZ" b="0" i="1" dirty="0"/>
        </a:p>
      </dgm:t>
    </dgm:pt>
    <dgm:pt modelId="{6BEB942D-751A-4204-8E41-53C894ADD3AE}" type="parTrans" cxnId="{F694600F-0DF1-4776-BB10-E5F83D5B3DB8}">
      <dgm:prSet/>
      <dgm:spPr/>
      <dgm:t>
        <a:bodyPr/>
        <a:lstStyle/>
        <a:p>
          <a:endParaRPr lang="cs-CZ"/>
        </a:p>
      </dgm:t>
    </dgm:pt>
    <dgm:pt modelId="{D5C32E86-9FB6-4CDB-8C95-54A227901A9D}" type="sibTrans" cxnId="{F694600F-0DF1-4776-BB10-E5F83D5B3DB8}">
      <dgm:prSet/>
      <dgm:spPr/>
      <dgm:t>
        <a:bodyPr/>
        <a:lstStyle/>
        <a:p>
          <a:endParaRPr lang="cs-CZ"/>
        </a:p>
      </dgm:t>
    </dgm:pt>
    <dgm:pt modelId="{13527068-A1CA-458F-B588-2D30F318AE6A}">
      <dgm:prSet phldrT="[Text]"/>
      <dgm:spPr/>
      <dgm:t>
        <a:bodyPr/>
        <a:lstStyle/>
        <a:p>
          <a:r>
            <a:rPr lang="cs-CZ" b="1" i="0" dirty="0"/>
            <a:t>Odkládací podmínky / </a:t>
          </a:r>
          <a:r>
            <a:rPr lang="cs-CZ" b="1" i="0" dirty="0" err="1"/>
            <a:t>CPs</a:t>
          </a:r>
          <a:endParaRPr lang="cs-CZ" b="1" i="0" dirty="0"/>
        </a:p>
      </dgm:t>
    </dgm:pt>
    <dgm:pt modelId="{43A47178-86D8-4A4C-8EC6-4F84B75EA0E7}" type="parTrans" cxnId="{D0350935-0E66-4C95-B462-CB6E5AFA8B50}">
      <dgm:prSet/>
      <dgm:spPr/>
      <dgm:t>
        <a:bodyPr/>
        <a:lstStyle/>
        <a:p>
          <a:endParaRPr lang="cs-CZ"/>
        </a:p>
      </dgm:t>
    </dgm:pt>
    <dgm:pt modelId="{3BD8E6D3-DBF4-4F74-B762-27FF01389575}" type="sibTrans" cxnId="{D0350935-0E66-4C95-B462-CB6E5AFA8B50}">
      <dgm:prSet/>
      <dgm:spPr/>
      <dgm:t>
        <a:bodyPr/>
        <a:lstStyle/>
        <a:p>
          <a:endParaRPr lang="cs-CZ"/>
        </a:p>
      </dgm:t>
    </dgm:pt>
    <dgm:pt modelId="{F99436E3-52E6-49C2-8C7E-F4CC2A6B5321}">
      <dgm:prSet/>
      <dgm:spPr/>
      <dgm:t>
        <a:bodyPr/>
        <a:lstStyle/>
        <a:p>
          <a:r>
            <a:rPr lang="cs-CZ" b="1" dirty="0"/>
            <a:t>Vítězná nabídka</a:t>
          </a:r>
        </a:p>
      </dgm:t>
    </dgm:pt>
    <dgm:pt modelId="{7ECDF4AF-3120-4F10-A5B4-6B2BD4DB0699}" type="parTrans" cxnId="{79CB9699-3E03-447F-B116-5408192ABEF9}">
      <dgm:prSet/>
      <dgm:spPr/>
      <dgm:t>
        <a:bodyPr/>
        <a:lstStyle/>
        <a:p>
          <a:endParaRPr lang="cs-CZ"/>
        </a:p>
      </dgm:t>
    </dgm:pt>
    <dgm:pt modelId="{308309F5-7392-4238-BAC1-E686A2E93FB1}" type="sibTrans" cxnId="{79CB9699-3E03-447F-B116-5408192ABEF9}">
      <dgm:prSet/>
      <dgm:spPr/>
      <dgm:t>
        <a:bodyPr/>
        <a:lstStyle/>
        <a:p>
          <a:endParaRPr lang="cs-CZ"/>
        </a:p>
      </dgm:t>
    </dgm:pt>
    <dgm:pt modelId="{4D8136A5-3F30-45AA-B210-E6DC1A363333}" type="pres">
      <dgm:prSet presAssocID="{67AF0873-654F-4510-AB3A-6BCD089DABC3}" presName="diagram" presStyleCnt="0">
        <dgm:presLayoutVars>
          <dgm:dir/>
          <dgm:resizeHandles val="exact"/>
        </dgm:presLayoutVars>
      </dgm:prSet>
      <dgm:spPr/>
    </dgm:pt>
    <dgm:pt modelId="{2B32E410-3365-494B-A367-1744D2F2D527}" type="pres">
      <dgm:prSet presAssocID="{828DDA33-30BE-4304-96ED-9AEB1F2D1440}" presName="node" presStyleLbl="node1" presStyleIdx="0" presStyleCnt="19">
        <dgm:presLayoutVars>
          <dgm:bulletEnabled val="1"/>
        </dgm:presLayoutVars>
      </dgm:prSet>
      <dgm:spPr/>
    </dgm:pt>
    <dgm:pt modelId="{85E440E1-6AC4-4872-8CDB-AACE7C1CF22B}" type="pres">
      <dgm:prSet presAssocID="{E05485B6-08D1-4577-8682-F888C3815FF3}" presName="sibTrans" presStyleLbl="sibTrans2D1" presStyleIdx="0" presStyleCnt="18"/>
      <dgm:spPr/>
    </dgm:pt>
    <dgm:pt modelId="{E899C35B-C03D-43B4-97ED-B99E3109D9FD}" type="pres">
      <dgm:prSet presAssocID="{E05485B6-08D1-4577-8682-F888C3815FF3}" presName="connectorText" presStyleLbl="sibTrans2D1" presStyleIdx="0" presStyleCnt="18"/>
      <dgm:spPr/>
    </dgm:pt>
    <dgm:pt modelId="{A6C325BF-53F1-45E4-A318-6910DE4A702E}" type="pres">
      <dgm:prSet presAssocID="{038ACFA8-6696-43DC-899D-088F7FC66C29}" presName="node" presStyleLbl="node1" presStyleIdx="1" presStyleCnt="19">
        <dgm:presLayoutVars>
          <dgm:bulletEnabled val="1"/>
        </dgm:presLayoutVars>
      </dgm:prSet>
      <dgm:spPr/>
    </dgm:pt>
    <dgm:pt modelId="{7D86E2E3-F7F8-4162-AAD9-9C7A9544AFF4}" type="pres">
      <dgm:prSet presAssocID="{6AB55C8A-DBA9-4D38-8478-835B489DDB00}" presName="sibTrans" presStyleLbl="sibTrans2D1" presStyleIdx="1" presStyleCnt="18"/>
      <dgm:spPr/>
    </dgm:pt>
    <dgm:pt modelId="{849771F8-C44D-4DB2-8A86-95BF800AB05D}" type="pres">
      <dgm:prSet presAssocID="{6AB55C8A-DBA9-4D38-8478-835B489DDB00}" presName="connectorText" presStyleLbl="sibTrans2D1" presStyleIdx="1" presStyleCnt="18"/>
      <dgm:spPr/>
    </dgm:pt>
    <dgm:pt modelId="{3302F8D1-6174-43B6-80F6-7ABEF5395251}" type="pres">
      <dgm:prSet presAssocID="{89CBCCFC-6C22-4178-B8E1-81BF7B748E76}" presName="node" presStyleLbl="node1" presStyleIdx="2" presStyleCnt="19">
        <dgm:presLayoutVars>
          <dgm:bulletEnabled val="1"/>
        </dgm:presLayoutVars>
      </dgm:prSet>
      <dgm:spPr/>
    </dgm:pt>
    <dgm:pt modelId="{1C1576F0-F965-43CA-B32A-271CCC8BBE86}" type="pres">
      <dgm:prSet presAssocID="{D65FE824-26ED-4D52-961F-7E457BF69F6F}" presName="sibTrans" presStyleLbl="sibTrans2D1" presStyleIdx="2" presStyleCnt="18"/>
      <dgm:spPr/>
    </dgm:pt>
    <dgm:pt modelId="{85F8F4F9-A189-4398-A8B3-F2745C1D6428}" type="pres">
      <dgm:prSet presAssocID="{D65FE824-26ED-4D52-961F-7E457BF69F6F}" presName="connectorText" presStyleLbl="sibTrans2D1" presStyleIdx="2" presStyleCnt="18"/>
      <dgm:spPr/>
    </dgm:pt>
    <dgm:pt modelId="{0F8E0B5A-7A04-431A-87B3-CE4D5A0BAED8}" type="pres">
      <dgm:prSet presAssocID="{0341CAE2-BF61-4125-A2D2-50B7A2DFB1AF}" presName="node" presStyleLbl="node1" presStyleIdx="3" presStyleCnt="19">
        <dgm:presLayoutVars>
          <dgm:bulletEnabled val="1"/>
        </dgm:presLayoutVars>
      </dgm:prSet>
      <dgm:spPr/>
    </dgm:pt>
    <dgm:pt modelId="{146D39EE-E291-4A55-A806-C0AAF9B2D750}" type="pres">
      <dgm:prSet presAssocID="{45A0EDDB-61F2-45A5-AF24-1B927586809F}" presName="sibTrans" presStyleLbl="sibTrans2D1" presStyleIdx="3" presStyleCnt="18"/>
      <dgm:spPr/>
    </dgm:pt>
    <dgm:pt modelId="{0D52AAAC-72B5-4F0D-A479-EE25E91D17FA}" type="pres">
      <dgm:prSet presAssocID="{45A0EDDB-61F2-45A5-AF24-1B927586809F}" presName="connectorText" presStyleLbl="sibTrans2D1" presStyleIdx="3" presStyleCnt="18"/>
      <dgm:spPr/>
    </dgm:pt>
    <dgm:pt modelId="{31C59386-C4B7-40D6-B155-A0CC8046E80A}" type="pres">
      <dgm:prSet presAssocID="{CD1244F4-66CB-4D8B-9E9B-AE3EB96C182A}" presName="node" presStyleLbl="node1" presStyleIdx="4" presStyleCnt="19">
        <dgm:presLayoutVars>
          <dgm:bulletEnabled val="1"/>
        </dgm:presLayoutVars>
      </dgm:prSet>
      <dgm:spPr/>
    </dgm:pt>
    <dgm:pt modelId="{129179D8-F1A1-40F4-9A2C-40E0816CEE97}" type="pres">
      <dgm:prSet presAssocID="{FC464D58-97C5-47A6-91FD-DB758F23CE4E}" presName="sibTrans" presStyleLbl="sibTrans2D1" presStyleIdx="4" presStyleCnt="18"/>
      <dgm:spPr/>
    </dgm:pt>
    <dgm:pt modelId="{5C3E99B5-E9A3-407F-8CEC-72BBE218F501}" type="pres">
      <dgm:prSet presAssocID="{FC464D58-97C5-47A6-91FD-DB758F23CE4E}" presName="connectorText" presStyleLbl="sibTrans2D1" presStyleIdx="4" presStyleCnt="18"/>
      <dgm:spPr/>
    </dgm:pt>
    <dgm:pt modelId="{690FBC40-FDDA-4C5F-B2B6-BA82ED89E8AB}" type="pres">
      <dgm:prSet presAssocID="{083A116A-8B71-4FB5-878D-7FD48B447B40}" presName="node" presStyleLbl="node1" presStyleIdx="5" presStyleCnt="19">
        <dgm:presLayoutVars>
          <dgm:bulletEnabled val="1"/>
        </dgm:presLayoutVars>
      </dgm:prSet>
      <dgm:spPr/>
    </dgm:pt>
    <dgm:pt modelId="{712EC755-27ED-4385-B25F-5FC38AA796EA}" type="pres">
      <dgm:prSet presAssocID="{3FC39E48-8331-43A2-AF6A-256B73F47CB1}" presName="sibTrans" presStyleLbl="sibTrans2D1" presStyleIdx="5" presStyleCnt="18"/>
      <dgm:spPr/>
    </dgm:pt>
    <dgm:pt modelId="{A7C7801C-7FF8-4422-8F86-5DE2EFFBEAC9}" type="pres">
      <dgm:prSet presAssocID="{3FC39E48-8331-43A2-AF6A-256B73F47CB1}" presName="connectorText" presStyleLbl="sibTrans2D1" presStyleIdx="5" presStyleCnt="18"/>
      <dgm:spPr/>
    </dgm:pt>
    <dgm:pt modelId="{F639EC19-084D-49F5-9E58-EB3628B51725}" type="pres">
      <dgm:prSet presAssocID="{2155DCCE-DB39-4C0C-B406-DC7D030A2E6A}" presName="node" presStyleLbl="node1" presStyleIdx="6" presStyleCnt="19">
        <dgm:presLayoutVars>
          <dgm:bulletEnabled val="1"/>
        </dgm:presLayoutVars>
      </dgm:prSet>
      <dgm:spPr/>
    </dgm:pt>
    <dgm:pt modelId="{80E0436E-71CC-41C1-8D7D-660629542254}" type="pres">
      <dgm:prSet presAssocID="{F47361FE-E197-4CD0-A4E9-3132A27B89A5}" presName="sibTrans" presStyleLbl="sibTrans2D1" presStyleIdx="6" presStyleCnt="18"/>
      <dgm:spPr/>
    </dgm:pt>
    <dgm:pt modelId="{BCCD68E4-D387-4246-A939-F70CDD46A379}" type="pres">
      <dgm:prSet presAssocID="{F47361FE-E197-4CD0-A4E9-3132A27B89A5}" presName="connectorText" presStyleLbl="sibTrans2D1" presStyleIdx="6" presStyleCnt="18"/>
      <dgm:spPr/>
    </dgm:pt>
    <dgm:pt modelId="{A3D97B7B-5134-4984-99E5-28CB9B4EF218}" type="pres">
      <dgm:prSet presAssocID="{93C1800D-0E62-4BB2-ABD2-DA7F876B2756}" presName="node" presStyleLbl="node1" presStyleIdx="7" presStyleCnt="19">
        <dgm:presLayoutVars>
          <dgm:bulletEnabled val="1"/>
        </dgm:presLayoutVars>
      </dgm:prSet>
      <dgm:spPr/>
    </dgm:pt>
    <dgm:pt modelId="{93ED5C7C-D354-4B63-B1A5-98F30573BA3F}" type="pres">
      <dgm:prSet presAssocID="{11003004-D867-45DB-B8EC-C4A44486952A}" presName="sibTrans" presStyleLbl="sibTrans2D1" presStyleIdx="7" presStyleCnt="18"/>
      <dgm:spPr/>
    </dgm:pt>
    <dgm:pt modelId="{3F1C6988-5F4F-4DB3-B9AC-112C7018D945}" type="pres">
      <dgm:prSet presAssocID="{11003004-D867-45DB-B8EC-C4A44486952A}" presName="connectorText" presStyleLbl="sibTrans2D1" presStyleIdx="7" presStyleCnt="18"/>
      <dgm:spPr/>
    </dgm:pt>
    <dgm:pt modelId="{DCD2E134-18E4-4A63-985E-935770130ECA}" type="pres">
      <dgm:prSet presAssocID="{47EE3148-0776-456F-9F1A-F35C6A434C88}" presName="node" presStyleLbl="node1" presStyleIdx="8" presStyleCnt="19">
        <dgm:presLayoutVars>
          <dgm:bulletEnabled val="1"/>
        </dgm:presLayoutVars>
      </dgm:prSet>
      <dgm:spPr/>
    </dgm:pt>
    <dgm:pt modelId="{34B32203-6E3D-4FC3-8C20-BA232E1118F8}" type="pres">
      <dgm:prSet presAssocID="{C63C4564-8E39-4EA2-BEBF-D5DE288C243E}" presName="sibTrans" presStyleLbl="sibTrans2D1" presStyleIdx="8" presStyleCnt="18"/>
      <dgm:spPr/>
    </dgm:pt>
    <dgm:pt modelId="{D3222887-04A1-4CCD-8880-440D470B6952}" type="pres">
      <dgm:prSet presAssocID="{C63C4564-8E39-4EA2-BEBF-D5DE288C243E}" presName="connectorText" presStyleLbl="sibTrans2D1" presStyleIdx="8" presStyleCnt="18"/>
      <dgm:spPr/>
    </dgm:pt>
    <dgm:pt modelId="{3784431B-A1D2-4F51-BAB6-613E7DE2F203}" type="pres">
      <dgm:prSet presAssocID="{E36F3098-A487-4F3C-9358-D52BB6453AE9}" presName="node" presStyleLbl="node1" presStyleIdx="9" presStyleCnt="19">
        <dgm:presLayoutVars>
          <dgm:bulletEnabled val="1"/>
        </dgm:presLayoutVars>
      </dgm:prSet>
      <dgm:spPr/>
    </dgm:pt>
    <dgm:pt modelId="{62B8C3F5-D24E-4911-9A28-DC73917E4F97}" type="pres">
      <dgm:prSet presAssocID="{CA084B63-C96F-4D82-BB5B-8CE34F4C5753}" presName="sibTrans" presStyleLbl="sibTrans2D1" presStyleIdx="9" presStyleCnt="18"/>
      <dgm:spPr/>
    </dgm:pt>
    <dgm:pt modelId="{DD705FBE-A0A7-4B15-807E-53BFF40C8CD6}" type="pres">
      <dgm:prSet presAssocID="{CA084B63-C96F-4D82-BB5B-8CE34F4C5753}" presName="connectorText" presStyleLbl="sibTrans2D1" presStyleIdx="9" presStyleCnt="18"/>
      <dgm:spPr/>
    </dgm:pt>
    <dgm:pt modelId="{5F5077B9-6403-4CA3-A211-50F26931E7F4}" type="pres">
      <dgm:prSet presAssocID="{12574AEE-5EC3-43F0-A290-DD626A6A3D2A}" presName="node" presStyleLbl="node1" presStyleIdx="10" presStyleCnt="19">
        <dgm:presLayoutVars>
          <dgm:bulletEnabled val="1"/>
        </dgm:presLayoutVars>
      </dgm:prSet>
      <dgm:spPr/>
    </dgm:pt>
    <dgm:pt modelId="{2BD63230-0B68-46D0-BFFA-9007776AF906}" type="pres">
      <dgm:prSet presAssocID="{55D46958-042F-4551-954D-3312B70F3054}" presName="sibTrans" presStyleLbl="sibTrans2D1" presStyleIdx="10" presStyleCnt="18"/>
      <dgm:spPr/>
    </dgm:pt>
    <dgm:pt modelId="{7254C4FA-B3BE-40B0-86D0-7CBEF0045736}" type="pres">
      <dgm:prSet presAssocID="{55D46958-042F-4551-954D-3312B70F3054}" presName="connectorText" presStyleLbl="sibTrans2D1" presStyleIdx="10" presStyleCnt="18"/>
      <dgm:spPr/>
    </dgm:pt>
    <dgm:pt modelId="{30C3B839-ABC7-415C-BDBD-002D29D76B3E}" type="pres">
      <dgm:prSet presAssocID="{6CFB25D3-8C64-4BEA-9B7A-C8ECD1D5AAC7}" presName="node" presStyleLbl="node1" presStyleIdx="11" presStyleCnt="19">
        <dgm:presLayoutVars>
          <dgm:bulletEnabled val="1"/>
        </dgm:presLayoutVars>
      </dgm:prSet>
      <dgm:spPr/>
    </dgm:pt>
    <dgm:pt modelId="{E1AFE8D9-682C-4DBA-96E1-38857C1CB86F}" type="pres">
      <dgm:prSet presAssocID="{E0C8D7CD-B0EE-41BC-922C-EAFC18EBC08D}" presName="sibTrans" presStyleLbl="sibTrans2D1" presStyleIdx="11" presStyleCnt="18"/>
      <dgm:spPr/>
    </dgm:pt>
    <dgm:pt modelId="{3D86C70B-1475-462B-B230-7E25D8175E4F}" type="pres">
      <dgm:prSet presAssocID="{E0C8D7CD-B0EE-41BC-922C-EAFC18EBC08D}" presName="connectorText" presStyleLbl="sibTrans2D1" presStyleIdx="11" presStyleCnt="18"/>
      <dgm:spPr/>
    </dgm:pt>
    <dgm:pt modelId="{67F48EE6-9E13-467F-868A-7E25FC77C6D3}" type="pres">
      <dgm:prSet presAssocID="{F99436E3-52E6-49C2-8C7E-F4CC2A6B5321}" presName="node" presStyleLbl="node1" presStyleIdx="12" presStyleCnt="19">
        <dgm:presLayoutVars>
          <dgm:bulletEnabled val="1"/>
        </dgm:presLayoutVars>
      </dgm:prSet>
      <dgm:spPr/>
    </dgm:pt>
    <dgm:pt modelId="{D77E4194-8596-4B69-A0FF-70ED9CE214D5}" type="pres">
      <dgm:prSet presAssocID="{308309F5-7392-4238-BAC1-E686A2E93FB1}" presName="sibTrans" presStyleLbl="sibTrans2D1" presStyleIdx="12" presStyleCnt="18"/>
      <dgm:spPr/>
    </dgm:pt>
    <dgm:pt modelId="{4C30417D-0060-4510-A3C2-FE8DB92565DB}" type="pres">
      <dgm:prSet presAssocID="{308309F5-7392-4238-BAC1-E686A2E93FB1}" presName="connectorText" presStyleLbl="sibTrans2D1" presStyleIdx="12" presStyleCnt="18"/>
      <dgm:spPr/>
    </dgm:pt>
    <dgm:pt modelId="{F3AB15D3-FABF-4B10-B398-3E5BFB0B7C14}" type="pres">
      <dgm:prSet presAssocID="{99ADBFAE-BFD6-4EC6-862A-0AD1BE585FA5}" presName="node" presStyleLbl="node1" presStyleIdx="13" presStyleCnt="19">
        <dgm:presLayoutVars>
          <dgm:bulletEnabled val="1"/>
        </dgm:presLayoutVars>
      </dgm:prSet>
      <dgm:spPr/>
    </dgm:pt>
    <dgm:pt modelId="{BCC3FB23-5361-48DA-8D73-5F5B8257D0BC}" type="pres">
      <dgm:prSet presAssocID="{F97EB4DB-AAAB-405E-AFD2-5BD91C301B50}" presName="sibTrans" presStyleLbl="sibTrans2D1" presStyleIdx="13" presStyleCnt="18"/>
      <dgm:spPr/>
    </dgm:pt>
    <dgm:pt modelId="{7C720342-5D4D-4662-BB66-7DCB0B22EF19}" type="pres">
      <dgm:prSet presAssocID="{F97EB4DB-AAAB-405E-AFD2-5BD91C301B50}" presName="connectorText" presStyleLbl="sibTrans2D1" presStyleIdx="13" presStyleCnt="18"/>
      <dgm:spPr/>
    </dgm:pt>
    <dgm:pt modelId="{8E878BC4-8912-4178-9F2E-63BF1ECFFBEA}" type="pres">
      <dgm:prSet presAssocID="{A188EE17-6569-4849-8482-64537CB36C5B}" presName="node" presStyleLbl="node1" presStyleIdx="14" presStyleCnt="19">
        <dgm:presLayoutVars>
          <dgm:bulletEnabled val="1"/>
        </dgm:presLayoutVars>
      </dgm:prSet>
      <dgm:spPr/>
    </dgm:pt>
    <dgm:pt modelId="{C59C0CB7-149E-4435-B690-0528D8EFBEA5}" type="pres">
      <dgm:prSet presAssocID="{D5C32E86-9FB6-4CDB-8C95-54A227901A9D}" presName="sibTrans" presStyleLbl="sibTrans2D1" presStyleIdx="14" presStyleCnt="18"/>
      <dgm:spPr/>
    </dgm:pt>
    <dgm:pt modelId="{32E00774-6B19-4CAA-A09B-1A2C4D70DCFA}" type="pres">
      <dgm:prSet presAssocID="{D5C32E86-9FB6-4CDB-8C95-54A227901A9D}" presName="connectorText" presStyleLbl="sibTrans2D1" presStyleIdx="14" presStyleCnt="18"/>
      <dgm:spPr/>
    </dgm:pt>
    <dgm:pt modelId="{943BC048-A90D-4D9E-9821-A85ACAC327CA}" type="pres">
      <dgm:prSet presAssocID="{13527068-A1CA-458F-B588-2D30F318AE6A}" presName="node" presStyleLbl="node1" presStyleIdx="15" presStyleCnt="19">
        <dgm:presLayoutVars>
          <dgm:bulletEnabled val="1"/>
        </dgm:presLayoutVars>
      </dgm:prSet>
      <dgm:spPr/>
    </dgm:pt>
    <dgm:pt modelId="{62E498A3-2517-45DC-9A8A-B34427D9BB6A}" type="pres">
      <dgm:prSet presAssocID="{3BD8E6D3-DBF4-4F74-B762-27FF01389575}" presName="sibTrans" presStyleLbl="sibTrans2D1" presStyleIdx="15" presStyleCnt="18"/>
      <dgm:spPr/>
    </dgm:pt>
    <dgm:pt modelId="{FECEF29F-53FE-447A-BFEB-12F0A2DF6317}" type="pres">
      <dgm:prSet presAssocID="{3BD8E6D3-DBF4-4F74-B762-27FF01389575}" presName="connectorText" presStyleLbl="sibTrans2D1" presStyleIdx="15" presStyleCnt="18"/>
      <dgm:spPr/>
    </dgm:pt>
    <dgm:pt modelId="{C2AC126E-D58A-4775-9E89-4DDBC214AEC1}" type="pres">
      <dgm:prSet presAssocID="{5404560D-1EFB-4624-945D-4DD8989990AA}" presName="node" presStyleLbl="node1" presStyleIdx="16" presStyleCnt="19">
        <dgm:presLayoutVars>
          <dgm:bulletEnabled val="1"/>
        </dgm:presLayoutVars>
      </dgm:prSet>
      <dgm:spPr/>
    </dgm:pt>
    <dgm:pt modelId="{65357D0F-DA24-4B22-B866-9C5F45D83539}" type="pres">
      <dgm:prSet presAssocID="{B3305FBD-2A98-4A5D-9448-5B552679D00A}" presName="sibTrans" presStyleLbl="sibTrans2D1" presStyleIdx="16" presStyleCnt="18"/>
      <dgm:spPr/>
    </dgm:pt>
    <dgm:pt modelId="{1406B004-60F2-4DD9-810B-680BEBC77DF8}" type="pres">
      <dgm:prSet presAssocID="{B3305FBD-2A98-4A5D-9448-5B552679D00A}" presName="connectorText" presStyleLbl="sibTrans2D1" presStyleIdx="16" presStyleCnt="18"/>
      <dgm:spPr/>
    </dgm:pt>
    <dgm:pt modelId="{D6E5D510-5AE4-40FC-8E5D-C5B3280B3071}" type="pres">
      <dgm:prSet presAssocID="{44BCA2F7-4DFE-40B0-BF36-395295EDAF37}" presName="node" presStyleLbl="node1" presStyleIdx="17" presStyleCnt="19">
        <dgm:presLayoutVars>
          <dgm:bulletEnabled val="1"/>
        </dgm:presLayoutVars>
      </dgm:prSet>
      <dgm:spPr/>
    </dgm:pt>
    <dgm:pt modelId="{F0D65399-0147-47D5-9455-0DE6DE7AB3D4}" type="pres">
      <dgm:prSet presAssocID="{1A483732-DEE2-49AC-8401-AC4547915754}" presName="sibTrans" presStyleLbl="sibTrans2D1" presStyleIdx="17" presStyleCnt="18"/>
      <dgm:spPr/>
    </dgm:pt>
    <dgm:pt modelId="{B0EB730C-F0B6-4ACB-9FE9-C5BD5E852DC9}" type="pres">
      <dgm:prSet presAssocID="{1A483732-DEE2-49AC-8401-AC4547915754}" presName="connectorText" presStyleLbl="sibTrans2D1" presStyleIdx="17" presStyleCnt="18"/>
      <dgm:spPr/>
    </dgm:pt>
    <dgm:pt modelId="{85255D68-460B-43F3-98F6-D967AFF13228}" type="pres">
      <dgm:prSet presAssocID="{553D5A18-350A-4DE4-801A-BA63244DF558}" presName="node" presStyleLbl="node1" presStyleIdx="18" presStyleCnt="19">
        <dgm:presLayoutVars>
          <dgm:bulletEnabled val="1"/>
        </dgm:presLayoutVars>
      </dgm:prSet>
      <dgm:spPr/>
    </dgm:pt>
  </dgm:ptLst>
  <dgm:cxnLst>
    <dgm:cxn modelId="{51758E00-33B4-4CC0-8EE4-12F7BEBEABC9}" type="presOf" srcId="{083A116A-8B71-4FB5-878D-7FD48B447B40}" destId="{690FBC40-FDDA-4C5F-B2B6-BA82ED89E8AB}" srcOrd="0" destOrd="0" presId="urn:microsoft.com/office/officeart/2005/8/layout/process5"/>
    <dgm:cxn modelId="{6D7D6F01-4333-4756-8396-7FC49A3670C0}" srcId="{67AF0873-654F-4510-AB3A-6BCD089DABC3}" destId="{44BCA2F7-4DFE-40B0-BF36-395295EDAF37}" srcOrd="17" destOrd="0" parTransId="{234B0C10-ADBC-4532-939F-A8C683BC36CE}" sibTransId="{1A483732-DEE2-49AC-8401-AC4547915754}"/>
    <dgm:cxn modelId="{8E3C1204-1061-427E-8D33-329C62E504E2}" srcId="{67AF0873-654F-4510-AB3A-6BCD089DABC3}" destId="{93C1800D-0E62-4BB2-ABD2-DA7F876B2756}" srcOrd="7" destOrd="0" parTransId="{10C331F2-582C-4E9E-91FA-998D52E6398E}" sibTransId="{11003004-D867-45DB-B8EC-C4A44486952A}"/>
    <dgm:cxn modelId="{DF53EA07-FA30-4876-9E2D-0741372831A7}" type="presOf" srcId="{45A0EDDB-61F2-45A5-AF24-1B927586809F}" destId="{146D39EE-E291-4A55-A806-C0AAF9B2D750}" srcOrd="0" destOrd="0" presId="urn:microsoft.com/office/officeart/2005/8/layout/process5"/>
    <dgm:cxn modelId="{C088EA08-4890-4D98-8759-AE03100871AF}" srcId="{67AF0873-654F-4510-AB3A-6BCD089DABC3}" destId="{038ACFA8-6696-43DC-899D-088F7FC66C29}" srcOrd="1" destOrd="0" parTransId="{23EED50F-5125-4E38-9277-485AA98FCA23}" sibTransId="{6AB55C8A-DBA9-4D38-8478-835B489DDB00}"/>
    <dgm:cxn modelId="{B626E709-B40F-49FD-B96F-8A5E72300D72}" type="presOf" srcId="{828DDA33-30BE-4304-96ED-9AEB1F2D1440}" destId="{2B32E410-3365-494B-A367-1744D2F2D527}" srcOrd="0" destOrd="0" presId="urn:microsoft.com/office/officeart/2005/8/layout/process5"/>
    <dgm:cxn modelId="{F694600F-0DF1-4776-BB10-E5F83D5B3DB8}" srcId="{67AF0873-654F-4510-AB3A-6BCD089DABC3}" destId="{A188EE17-6569-4849-8482-64537CB36C5B}" srcOrd="14" destOrd="0" parTransId="{6BEB942D-751A-4204-8E41-53C894ADD3AE}" sibTransId="{D5C32E86-9FB6-4CDB-8C95-54A227901A9D}"/>
    <dgm:cxn modelId="{8A54F515-F373-445E-85BA-DB1B00DF4289}" srcId="{67AF0873-654F-4510-AB3A-6BCD089DABC3}" destId="{12574AEE-5EC3-43F0-A290-DD626A6A3D2A}" srcOrd="10" destOrd="0" parTransId="{3A0F5F3C-2717-4680-9785-411A3E5497D8}" sibTransId="{55D46958-042F-4551-954D-3312B70F3054}"/>
    <dgm:cxn modelId="{6BB1CD17-13EB-4F99-B0A1-B25226ACFD68}" type="presOf" srcId="{89CBCCFC-6C22-4178-B8E1-81BF7B748E76}" destId="{3302F8D1-6174-43B6-80F6-7ABEF5395251}" srcOrd="0" destOrd="0" presId="urn:microsoft.com/office/officeart/2005/8/layout/process5"/>
    <dgm:cxn modelId="{B988DD18-62B1-4719-B48F-4ED92A933A97}" type="presOf" srcId="{CA084B63-C96F-4D82-BB5B-8CE34F4C5753}" destId="{DD705FBE-A0A7-4B15-807E-53BFF40C8CD6}" srcOrd="1" destOrd="0" presId="urn:microsoft.com/office/officeart/2005/8/layout/process5"/>
    <dgm:cxn modelId="{B5A2511C-12BC-4EEF-914D-19925BD4B96B}" type="presOf" srcId="{A188EE17-6569-4849-8482-64537CB36C5B}" destId="{8E878BC4-8912-4178-9F2E-63BF1ECFFBEA}" srcOrd="0" destOrd="0" presId="urn:microsoft.com/office/officeart/2005/8/layout/process5"/>
    <dgm:cxn modelId="{42368122-1188-467B-AC82-7F9AAF84EF84}" type="presOf" srcId="{B3305FBD-2A98-4A5D-9448-5B552679D00A}" destId="{1406B004-60F2-4DD9-810B-680BEBC77DF8}" srcOrd="1" destOrd="0" presId="urn:microsoft.com/office/officeart/2005/8/layout/process5"/>
    <dgm:cxn modelId="{8B098C24-92AE-456A-9011-56A54080006D}" type="presOf" srcId="{D65FE824-26ED-4D52-961F-7E457BF69F6F}" destId="{1C1576F0-F965-43CA-B32A-271CCC8BBE86}" srcOrd="0" destOrd="0" presId="urn:microsoft.com/office/officeart/2005/8/layout/process5"/>
    <dgm:cxn modelId="{FB85C226-36B0-4DB4-BC3D-15F4F202F36E}" type="presOf" srcId="{F47361FE-E197-4CD0-A4E9-3132A27B89A5}" destId="{BCCD68E4-D387-4246-A939-F70CDD46A379}" srcOrd="1" destOrd="0" presId="urn:microsoft.com/office/officeart/2005/8/layout/process5"/>
    <dgm:cxn modelId="{BF9EA927-B5B5-40F0-B039-850A8BBF0A57}" type="presOf" srcId="{C63C4564-8E39-4EA2-BEBF-D5DE288C243E}" destId="{34B32203-6E3D-4FC3-8C20-BA232E1118F8}" srcOrd="0" destOrd="0" presId="urn:microsoft.com/office/officeart/2005/8/layout/process5"/>
    <dgm:cxn modelId="{427BF72B-8F13-48F0-96C0-CC168F2D96E1}" srcId="{67AF0873-654F-4510-AB3A-6BCD089DABC3}" destId="{0341CAE2-BF61-4125-A2D2-50B7A2DFB1AF}" srcOrd="3" destOrd="0" parTransId="{81B57D60-3280-41DE-BB06-F8CC6ECB26E4}" sibTransId="{45A0EDDB-61F2-45A5-AF24-1B927586809F}"/>
    <dgm:cxn modelId="{D0350935-0E66-4C95-B462-CB6E5AFA8B50}" srcId="{67AF0873-654F-4510-AB3A-6BCD089DABC3}" destId="{13527068-A1CA-458F-B588-2D30F318AE6A}" srcOrd="15" destOrd="0" parTransId="{43A47178-86D8-4A4C-8EC6-4F84B75EA0E7}" sibTransId="{3BD8E6D3-DBF4-4F74-B762-27FF01389575}"/>
    <dgm:cxn modelId="{C02A1037-9C89-4FDF-BCCF-1B4A38ACD510}" type="presOf" srcId="{5404560D-1EFB-4624-945D-4DD8989990AA}" destId="{C2AC126E-D58A-4775-9E89-4DDBC214AEC1}" srcOrd="0" destOrd="0" presId="urn:microsoft.com/office/officeart/2005/8/layout/process5"/>
    <dgm:cxn modelId="{C423EC3E-57C3-4D89-88E5-60E4343AAB14}" type="presOf" srcId="{F97EB4DB-AAAB-405E-AFD2-5BD91C301B50}" destId="{7C720342-5D4D-4662-BB66-7DCB0B22EF19}" srcOrd="1" destOrd="0" presId="urn:microsoft.com/office/officeart/2005/8/layout/process5"/>
    <dgm:cxn modelId="{E490F33F-9DF3-4114-9481-E785DEB28ECD}" srcId="{67AF0873-654F-4510-AB3A-6BCD089DABC3}" destId="{6CFB25D3-8C64-4BEA-9B7A-C8ECD1D5AAC7}" srcOrd="11" destOrd="0" parTransId="{7B535D39-084B-475A-BD2B-95C5706F2DEA}" sibTransId="{E0C8D7CD-B0EE-41BC-922C-EAFC18EBC08D}"/>
    <dgm:cxn modelId="{DB6A4662-C4BA-4323-8C17-38DE74277E7F}" type="presOf" srcId="{CA084B63-C96F-4D82-BB5B-8CE34F4C5753}" destId="{62B8C3F5-D24E-4911-9A28-DC73917E4F97}" srcOrd="0" destOrd="0" presId="urn:microsoft.com/office/officeart/2005/8/layout/process5"/>
    <dgm:cxn modelId="{2791A645-65A9-4986-B603-9413275951DA}" type="presOf" srcId="{1A483732-DEE2-49AC-8401-AC4547915754}" destId="{F0D65399-0147-47D5-9455-0DE6DE7AB3D4}" srcOrd="0" destOrd="0" presId="urn:microsoft.com/office/officeart/2005/8/layout/process5"/>
    <dgm:cxn modelId="{44E6B047-2BA5-4BBC-B214-66C83BFC445C}" type="presOf" srcId="{FC464D58-97C5-47A6-91FD-DB758F23CE4E}" destId="{129179D8-F1A1-40F4-9A2C-40E0816CEE97}" srcOrd="0" destOrd="0" presId="urn:microsoft.com/office/officeart/2005/8/layout/process5"/>
    <dgm:cxn modelId="{B1400948-C942-4F42-BD14-199378937220}" srcId="{67AF0873-654F-4510-AB3A-6BCD089DABC3}" destId="{89CBCCFC-6C22-4178-B8E1-81BF7B748E76}" srcOrd="2" destOrd="0" parTransId="{A0D5F88D-1DB9-4233-A2EF-82F593464D50}" sibTransId="{D65FE824-26ED-4D52-961F-7E457BF69F6F}"/>
    <dgm:cxn modelId="{DE37A468-AE50-49A7-BCB3-297A95A94BD3}" srcId="{67AF0873-654F-4510-AB3A-6BCD089DABC3}" destId="{E36F3098-A487-4F3C-9358-D52BB6453AE9}" srcOrd="9" destOrd="0" parTransId="{9696FCA6-6BFA-4740-AE3B-083B50C6A2D7}" sibTransId="{CA084B63-C96F-4D82-BB5B-8CE34F4C5753}"/>
    <dgm:cxn modelId="{A2E4E048-CA50-439D-B2A2-C50F4C3B7C4F}" type="presOf" srcId="{B3305FBD-2A98-4A5D-9448-5B552679D00A}" destId="{65357D0F-DA24-4B22-B866-9C5F45D83539}" srcOrd="0" destOrd="0" presId="urn:microsoft.com/office/officeart/2005/8/layout/process5"/>
    <dgm:cxn modelId="{6DAB374B-6E26-450D-BEBE-97495456D143}" srcId="{67AF0873-654F-4510-AB3A-6BCD089DABC3}" destId="{CD1244F4-66CB-4D8B-9E9B-AE3EB96C182A}" srcOrd="4" destOrd="0" parTransId="{90834F6D-9528-41EE-8FC9-5D8C5006376C}" sibTransId="{FC464D58-97C5-47A6-91FD-DB758F23CE4E}"/>
    <dgm:cxn modelId="{08A43A4B-0BB0-43C0-9E5A-1C7A486A496E}" type="presOf" srcId="{1A483732-DEE2-49AC-8401-AC4547915754}" destId="{B0EB730C-F0B6-4ACB-9FE9-C5BD5E852DC9}" srcOrd="1" destOrd="0" presId="urn:microsoft.com/office/officeart/2005/8/layout/process5"/>
    <dgm:cxn modelId="{1F217F4D-FB28-4292-A1CC-606C449925F3}" type="presOf" srcId="{3BD8E6D3-DBF4-4F74-B762-27FF01389575}" destId="{62E498A3-2517-45DC-9A8A-B34427D9BB6A}" srcOrd="0" destOrd="0" presId="urn:microsoft.com/office/officeart/2005/8/layout/process5"/>
    <dgm:cxn modelId="{47FEAC6D-F444-4E37-A33C-42A241896A0D}" type="presOf" srcId="{F99436E3-52E6-49C2-8C7E-F4CC2A6B5321}" destId="{67F48EE6-9E13-467F-868A-7E25FC77C6D3}" srcOrd="0" destOrd="0" presId="urn:microsoft.com/office/officeart/2005/8/layout/process5"/>
    <dgm:cxn modelId="{DA961B6F-D892-4D32-9682-E5C65B516AC0}" type="presOf" srcId="{55D46958-042F-4551-954D-3312B70F3054}" destId="{7254C4FA-B3BE-40B0-86D0-7CBEF0045736}" srcOrd="1" destOrd="0" presId="urn:microsoft.com/office/officeart/2005/8/layout/process5"/>
    <dgm:cxn modelId="{B95AAA52-D901-458C-A21E-A80DC78E5AE1}" type="presOf" srcId="{93C1800D-0E62-4BB2-ABD2-DA7F876B2756}" destId="{A3D97B7B-5134-4984-99E5-28CB9B4EF218}" srcOrd="0" destOrd="0" presId="urn:microsoft.com/office/officeart/2005/8/layout/process5"/>
    <dgm:cxn modelId="{D037EA72-EFB6-4C41-8F5D-0D01E4F86D3B}" type="presOf" srcId="{F47361FE-E197-4CD0-A4E9-3132A27B89A5}" destId="{80E0436E-71CC-41C1-8D7D-660629542254}" srcOrd="0" destOrd="0" presId="urn:microsoft.com/office/officeart/2005/8/layout/process5"/>
    <dgm:cxn modelId="{66F09279-70FD-4ECA-9422-3B5B4E9A001D}" type="presOf" srcId="{55D46958-042F-4551-954D-3312B70F3054}" destId="{2BD63230-0B68-46D0-BFFA-9007776AF906}" srcOrd="0" destOrd="0" presId="urn:microsoft.com/office/officeart/2005/8/layout/process5"/>
    <dgm:cxn modelId="{D8A83B5A-B7FD-4E95-96C6-CDEAEE73EBDA}" srcId="{67AF0873-654F-4510-AB3A-6BCD089DABC3}" destId="{553D5A18-350A-4DE4-801A-BA63244DF558}" srcOrd="18" destOrd="0" parTransId="{F04A867C-C9DF-4817-B7C1-5ADA3A0294E9}" sibTransId="{A03E3999-B985-4024-BAA2-419DE862652E}"/>
    <dgm:cxn modelId="{368CCA7C-C869-4A87-B360-3D16A86B805F}" type="presOf" srcId="{308309F5-7392-4238-BAC1-E686A2E93FB1}" destId="{4C30417D-0060-4510-A3C2-FE8DB92565DB}" srcOrd="1" destOrd="0" presId="urn:microsoft.com/office/officeart/2005/8/layout/process5"/>
    <dgm:cxn modelId="{E037937D-C6F7-4F67-AABE-BD81B748C93E}" type="presOf" srcId="{FC464D58-97C5-47A6-91FD-DB758F23CE4E}" destId="{5C3E99B5-E9A3-407F-8CEC-72BBE218F501}" srcOrd="1" destOrd="0" presId="urn:microsoft.com/office/officeart/2005/8/layout/process5"/>
    <dgm:cxn modelId="{D0B66F85-5454-4B35-8767-0EB15820E31C}" type="presOf" srcId="{44BCA2F7-4DFE-40B0-BF36-395295EDAF37}" destId="{D6E5D510-5AE4-40FC-8E5D-C5B3280B3071}" srcOrd="0" destOrd="0" presId="urn:microsoft.com/office/officeart/2005/8/layout/process5"/>
    <dgm:cxn modelId="{AE5D5085-4B10-4840-BB3C-73573EE54D5E}" type="presOf" srcId="{3FC39E48-8331-43A2-AF6A-256B73F47CB1}" destId="{A7C7801C-7FF8-4422-8F86-5DE2EFFBEAC9}" srcOrd="1" destOrd="0" presId="urn:microsoft.com/office/officeart/2005/8/layout/process5"/>
    <dgm:cxn modelId="{5624848B-766D-4606-8049-20AADEAA00B5}" type="presOf" srcId="{13527068-A1CA-458F-B588-2D30F318AE6A}" destId="{943BC048-A90D-4D9E-9821-A85ACAC327CA}" srcOrd="0" destOrd="0" presId="urn:microsoft.com/office/officeart/2005/8/layout/process5"/>
    <dgm:cxn modelId="{90AB698E-FC20-4D29-A75C-58A2F4201556}" srcId="{67AF0873-654F-4510-AB3A-6BCD089DABC3}" destId="{2155DCCE-DB39-4C0C-B406-DC7D030A2E6A}" srcOrd="6" destOrd="0" parTransId="{98130944-0B55-4255-96E3-3077CF4A71EE}" sibTransId="{F47361FE-E197-4CD0-A4E9-3132A27B89A5}"/>
    <dgm:cxn modelId="{5F725190-F49A-4563-BEF2-56B11B9D46B4}" type="presOf" srcId="{D5C32E86-9FB6-4CDB-8C95-54A227901A9D}" destId="{32E00774-6B19-4CAA-A09B-1A2C4D70DCFA}" srcOrd="1" destOrd="0" presId="urn:microsoft.com/office/officeart/2005/8/layout/process5"/>
    <dgm:cxn modelId="{0B17DA98-E4F5-42EA-8C44-F606E8773BED}" type="presOf" srcId="{038ACFA8-6696-43DC-899D-088F7FC66C29}" destId="{A6C325BF-53F1-45E4-A318-6910DE4A702E}" srcOrd="0" destOrd="0" presId="urn:microsoft.com/office/officeart/2005/8/layout/process5"/>
    <dgm:cxn modelId="{79CB9699-3E03-447F-B116-5408192ABEF9}" srcId="{67AF0873-654F-4510-AB3A-6BCD089DABC3}" destId="{F99436E3-52E6-49C2-8C7E-F4CC2A6B5321}" srcOrd="12" destOrd="0" parTransId="{7ECDF4AF-3120-4F10-A5B4-6B2BD4DB0699}" sibTransId="{308309F5-7392-4238-BAC1-E686A2E93FB1}"/>
    <dgm:cxn modelId="{637455A0-BCEF-4CC8-AA16-4A2F403EF6B6}" srcId="{67AF0873-654F-4510-AB3A-6BCD089DABC3}" destId="{5404560D-1EFB-4624-945D-4DD8989990AA}" srcOrd="16" destOrd="0" parTransId="{A6F9399C-F054-42CD-AF06-B73D12F69D7A}" sibTransId="{B3305FBD-2A98-4A5D-9448-5B552679D00A}"/>
    <dgm:cxn modelId="{2C4EDEA0-112E-4768-B473-EA0DD98E0D8A}" type="presOf" srcId="{0341CAE2-BF61-4125-A2D2-50B7A2DFB1AF}" destId="{0F8E0B5A-7A04-431A-87B3-CE4D5A0BAED8}" srcOrd="0" destOrd="0" presId="urn:microsoft.com/office/officeart/2005/8/layout/process5"/>
    <dgm:cxn modelId="{112355A8-AFB2-486E-ABD3-E8BA5940DA1B}" type="presOf" srcId="{308309F5-7392-4238-BAC1-E686A2E93FB1}" destId="{D77E4194-8596-4B69-A0FF-70ED9CE214D5}" srcOrd="0" destOrd="0" presId="urn:microsoft.com/office/officeart/2005/8/layout/process5"/>
    <dgm:cxn modelId="{804E70A9-EA36-491E-B04B-ACF29D2FBDE3}" srcId="{67AF0873-654F-4510-AB3A-6BCD089DABC3}" destId="{828DDA33-30BE-4304-96ED-9AEB1F2D1440}" srcOrd="0" destOrd="0" parTransId="{9889BE34-551F-47E7-AC0E-AA0FEE0F020E}" sibTransId="{E05485B6-08D1-4577-8682-F888C3815FF3}"/>
    <dgm:cxn modelId="{DBB4D0AA-3225-4412-A8BE-9C158C4ADB28}" type="presOf" srcId="{553D5A18-350A-4DE4-801A-BA63244DF558}" destId="{85255D68-460B-43F3-98F6-D967AFF13228}" srcOrd="0" destOrd="0" presId="urn:microsoft.com/office/officeart/2005/8/layout/process5"/>
    <dgm:cxn modelId="{677320AB-7CEC-43E3-A2E1-E2E20683FC99}" type="presOf" srcId="{E0C8D7CD-B0EE-41BC-922C-EAFC18EBC08D}" destId="{3D86C70B-1475-462B-B230-7E25D8175E4F}" srcOrd="1" destOrd="0" presId="urn:microsoft.com/office/officeart/2005/8/layout/process5"/>
    <dgm:cxn modelId="{ED4CC7B4-AF62-497B-9ADA-209A579CBB8C}" type="presOf" srcId="{E0C8D7CD-B0EE-41BC-922C-EAFC18EBC08D}" destId="{E1AFE8D9-682C-4DBA-96E1-38857C1CB86F}" srcOrd="0" destOrd="0" presId="urn:microsoft.com/office/officeart/2005/8/layout/process5"/>
    <dgm:cxn modelId="{9859E7B5-966F-4169-9900-671C436A41BF}" srcId="{67AF0873-654F-4510-AB3A-6BCD089DABC3}" destId="{083A116A-8B71-4FB5-878D-7FD48B447B40}" srcOrd="5" destOrd="0" parTransId="{504F7A39-417D-40CD-939B-9AAD401AF2F2}" sibTransId="{3FC39E48-8331-43A2-AF6A-256B73F47CB1}"/>
    <dgm:cxn modelId="{B4E812B8-D2A9-43AB-B085-32F5847EFD99}" type="presOf" srcId="{E36F3098-A487-4F3C-9358-D52BB6453AE9}" destId="{3784431B-A1D2-4F51-BAB6-613E7DE2F203}" srcOrd="0" destOrd="0" presId="urn:microsoft.com/office/officeart/2005/8/layout/process5"/>
    <dgm:cxn modelId="{00CC07BF-4E2F-4721-9C11-4C827CC0FECB}" type="presOf" srcId="{D5C32E86-9FB6-4CDB-8C95-54A227901A9D}" destId="{C59C0CB7-149E-4435-B690-0528D8EFBEA5}" srcOrd="0" destOrd="0" presId="urn:microsoft.com/office/officeart/2005/8/layout/process5"/>
    <dgm:cxn modelId="{60A96FC3-0C5B-48AB-AA01-969D92669D5A}" type="presOf" srcId="{C63C4564-8E39-4EA2-BEBF-D5DE288C243E}" destId="{D3222887-04A1-4CCD-8880-440D470B6952}" srcOrd="1" destOrd="0" presId="urn:microsoft.com/office/officeart/2005/8/layout/process5"/>
    <dgm:cxn modelId="{97F626C5-1834-4F62-8566-EC33A977C4AD}" type="presOf" srcId="{3BD8E6D3-DBF4-4F74-B762-27FF01389575}" destId="{FECEF29F-53FE-447A-BFEB-12F0A2DF6317}" srcOrd="1" destOrd="0" presId="urn:microsoft.com/office/officeart/2005/8/layout/process5"/>
    <dgm:cxn modelId="{0BEF48C6-465C-4F28-97A9-C635AACA2C78}" type="presOf" srcId="{CD1244F4-66CB-4D8B-9E9B-AE3EB96C182A}" destId="{31C59386-C4B7-40D6-B155-A0CC8046E80A}" srcOrd="0" destOrd="0" presId="urn:microsoft.com/office/officeart/2005/8/layout/process5"/>
    <dgm:cxn modelId="{64200BC7-12AE-4031-BACB-934B60C7B150}" type="presOf" srcId="{D65FE824-26ED-4D52-961F-7E457BF69F6F}" destId="{85F8F4F9-A189-4398-A8B3-F2745C1D6428}" srcOrd="1" destOrd="0" presId="urn:microsoft.com/office/officeart/2005/8/layout/process5"/>
    <dgm:cxn modelId="{7C8855C8-82A9-4B20-91A8-2478FD8C417A}" type="presOf" srcId="{11003004-D867-45DB-B8EC-C4A44486952A}" destId="{93ED5C7C-D354-4B63-B1A5-98F30573BA3F}" srcOrd="0" destOrd="0" presId="urn:microsoft.com/office/officeart/2005/8/layout/process5"/>
    <dgm:cxn modelId="{BF17FDCE-1F10-4D32-8EDC-9603CAF60899}" type="presOf" srcId="{67AF0873-654F-4510-AB3A-6BCD089DABC3}" destId="{4D8136A5-3F30-45AA-B210-E6DC1A363333}" srcOrd="0" destOrd="0" presId="urn:microsoft.com/office/officeart/2005/8/layout/process5"/>
    <dgm:cxn modelId="{E2AA0FD0-6857-4E1E-8BE3-697CDEB188D3}" type="presOf" srcId="{3FC39E48-8331-43A2-AF6A-256B73F47CB1}" destId="{712EC755-27ED-4385-B25F-5FC38AA796EA}" srcOrd="0" destOrd="0" presId="urn:microsoft.com/office/officeart/2005/8/layout/process5"/>
    <dgm:cxn modelId="{F45360D2-BEC6-4A5B-B544-8F04B7529E92}" type="presOf" srcId="{E05485B6-08D1-4577-8682-F888C3815FF3}" destId="{E899C35B-C03D-43B4-97ED-B99E3109D9FD}" srcOrd="1" destOrd="0" presId="urn:microsoft.com/office/officeart/2005/8/layout/process5"/>
    <dgm:cxn modelId="{8FA32BD3-B926-4E05-9BBB-0CA7DD8A6E0F}" type="presOf" srcId="{11003004-D867-45DB-B8EC-C4A44486952A}" destId="{3F1C6988-5F4F-4DB3-B9AC-112C7018D945}" srcOrd="1" destOrd="0" presId="urn:microsoft.com/office/officeart/2005/8/layout/process5"/>
    <dgm:cxn modelId="{897E43D7-93FE-4C90-9682-63EC0B81F7F6}" srcId="{67AF0873-654F-4510-AB3A-6BCD089DABC3}" destId="{47EE3148-0776-456F-9F1A-F35C6A434C88}" srcOrd="8" destOrd="0" parTransId="{FD253779-7136-45DA-BE4D-46BB0CC7C935}" sibTransId="{C63C4564-8E39-4EA2-BEBF-D5DE288C243E}"/>
    <dgm:cxn modelId="{EAEC54D8-B0E0-4CB5-8533-711C0FD467EA}" type="presOf" srcId="{6CFB25D3-8C64-4BEA-9B7A-C8ECD1D5AAC7}" destId="{30C3B839-ABC7-415C-BDBD-002D29D76B3E}" srcOrd="0" destOrd="0" presId="urn:microsoft.com/office/officeart/2005/8/layout/process5"/>
    <dgm:cxn modelId="{3000FCDB-F1FE-4FC3-9D50-023D08402DAB}" type="presOf" srcId="{6AB55C8A-DBA9-4D38-8478-835B489DDB00}" destId="{849771F8-C44D-4DB2-8A86-95BF800AB05D}" srcOrd="1" destOrd="0" presId="urn:microsoft.com/office/officeart/2005/8/layout/process5"/>
    <dgm:cxn modelId="{B6F92DDD-EBA6-4B26-83A5-E9BD0EC84BFF}" type="presOf" srcId="{2155DCCE-DB39-4C0C-B406-DC7D030A2E6A}" destId="{F639EC19-084D-49F5-9E58-EB3628B51725}" srcOrd="0" destOrd="0" presId="urn:microsoft.com/office/officeart/2005/8/layout/process5"/>
    <dgm:cxn modelId="{C67240DD-0B2C-4C75-BB6B-8A79F2B094EA}" type="presOf" srcId="{47EE3148-0776-456F-9F1A-F35C6A434C88}" destId="{DCD2E134-18E4-4A63-985E-935770130ECA}" srcOrd="0" destOrd="0" presId="urn:microsoft.com/office/officeart/2005/8/layout/process5"/>
    <dgm:cxn modelId="{4FC943E2-C3F8-40A5-863A-9C9DD599D656}" srcId="{67AF0873-654F-4510-AB3A-6BCD089DABC3}" destId="{99ADBFAE-BFD6-4EC6-862A-0AD1BE585FA5}" srcOrd="13" destOrd="0" parTransId="{BCB1D8C4-BBD6-4376-BF98-1ECFDDAB2AC9}" sibTransId="{F97EB4DB-AAAB-405E-AFD2-5BD91C301B50}"/>
    <dgm:cxn modelId="{680D62E7-E35D-42C6-A51B-81CCB5C07EF9}" type="presOf" srcId="{12574AEE-5EC3-43F0-A290-DD626A6A3D2A}" destId="{5F5077B9-6403-4CA3-A211-50F26931E7F4}" srcOrd="0" destOrd="0" presId="urn:microsoft.com/office/officeart/2005/8/layout/process5"/>
    <dgm:cxn modelId="{E1B4FDE9-552B-4ACB-8DAF-3F6262589A1C}" type="presOf" srcId="{99ADBFAE-BFD6-4EC6-862A-0AD1BE585FA5}" destId="{F3AB15D3-FABF-4B10-B398-3E5BFB0B7C14}" srcOrd="0" destOrd="0" presId="urn:microsoft.com/office/officeart/2005/8/layout/process5"/>
    <dgm:cxn modelId="{9E3352ED-A8EA-4F0F-A887-6933B78A672C}" type="presOf" srcId="{F97EB4DB-AAAB-405E-AFD2-5BD91C301B50}" destId="{BCC3FB23-5361-48DA-8D73-5F5B8257D0BC}" srcOrd="0" destOrd="0" presId="urn:microsoft.com/office/officeart/2005/8/layout/process5"/>
    <dgm:cxn modelId="{00BC5CF6-7B3E-4469-9167-5A4512D4E309}" type="presOf" srcId="{6AB55C8A-DBA9-4D38-8478-835B489DDB00}" destId="{7D86E2E3-F7F8-4162-AAD9-9C7A9544AFF4}" srcOrd="0" destOrd="0" presId="urn:microsoft.com/office/officeart/2005/8/layout/process5"/>
    <dgm:cxn modelId="{9E45EBF8-101A-417A-8822-CB5672AFE54D}" type="presOf" srcId="{45A0EDDB-61F2-45A5-AF24-1B927586809F}" destId="{0D52AAAC-72B5-4F0D-A479-EE25E91D17FA}" srcOrd="1" destOrd="0" presId="urn:microsoft.com/office/officeart/2005/8/layout/process5"/>
    <dgm:cxn modelId="{402C8CFF-CB77-4661-9456-6BB0745595D6}" type="presOf" srcId="{E05485B6-08D1-4577-8682-F888C3815FF3}" destId="{85E440E1-6AC4-4872-8CDB-AACE7C1CF22B}" srcOrd="0" destOrd="0" presId="urn:microsoft.com/office/officeart/2005/8/layout/process5"/>
    <dgm:cxn modelId="{DEF42DF6-5049-4F81-B96B-5E5657E8CD3E}" type="presParOf" srcId="{4D8136A5-3F30-45AA-B210-E6DC1A363333}" destId="{2B32E410-3365-494B-A367-1744D2F2D527}" srcOrd="0" destOrd="0" presId="urn:microsoft.com/office/officeart/2005/8/layout/process5"/>
    <dgm:cxn modelId="{3ACEBE9E-01FB-406C-A036-51ECBEDA2671}" type="presParOf" srcId="{4D8136A5-3F30-45AA-B210-E6DC1A363333}" destId="{85E440E1-6AC4-4872-8CDB-AACE7C1CF22B}" srcOrd="1" destOrd="0" presId="urn:microsoft.com/office/officeart/2005/8/layout/process5"/>
    <dgm:cxn modelId="{EF11D40F-33EE-4F93-9BDD-8244BC0E23B3}" type="presParOf" srcId="{85E440E1-6AC4-4872-8CDB-AACE7C1CF22B}" destId="{E899C35B-C03D-43B4-97ED-B99E3109D9FD}" srcOrd="0" destOrd="0" presId="urn:microsoft.com/office/officeart/2005/8/layout/process5"/>
    <dgm:cxn modelId="{DCEECD42-AADB-4789-9D8B-BAC6DC48902F}" type="presParOf" srcId="{4D8136A5-3F30-45AA-B210-E6DC1A363333}" destId="{A6C325BF-53F1-45E4-A318-6910DE4A702E}" srcOrd="2" destOrd="0" presId="urn:microsoft.com/office/officeart/2005/8/layout/process5"/>
    <dgm:cxn modelId="{1B763710-2A12-4428-851E-13579B9074D2}" type="presParOf" srcId="{4D8136A5-3F30-45AA-B210-E6DC1A363333}" destId="{7D86E2E3-F7F8-4162-AAD9-9C7A9544AFF4}" srcOrd="3" destOrd="0" presId="urn:microsoft.com/office/officeart/2005/8/layout/process5"/>
    <dgm:cxn modelId="{A88DA863-AF10-4716-BBE6-63A7AE744D0B}" type="presParOf" srcId="{7D86E2E3-F7F8-4162-AAD9-9C7A9544AFF4}" destId="{849771F8-C44D-4DB2-8A86-95BF800AB05D}" srcOrd="0" destOrd="0" presId="urn:microsoft.com/office/officeart/2005/8/layout/process5"/>
    <dgm:cxn modelId="{C1EEE84B-BD6A-4AC4-987A-59F4FA096D03}" type="presParOf" srcId="{4D8136A5-3F30-45AA-B210-E6DC1A363333}" destId="{3302F8D1-6174-43B6-80F6-7ABEF5395251}" srcOrd="4" destOrd="0" presId="urn:microsoft.com/office/officeart/2005/8/layout/process5"/>
    <dgm:cxn modelId="{3B9448A1-E691-45F5-A147-4CD33FB6D878}" type="presParOf" srcId="{4D8136A5-3F30-45AA-B210-E6DC1A363333}" destId="{1C1576F0-F965-43CA-B32A-271CCC8BBE86}" srcOrd="5" destOrd="0" presId="urn:microsoft.com/office/officeart/2005/8/layout/process5"/>
    <dgm:cxn modelId="{89FB4015-6685-40DE-B0F0-73D4ABBA8B66}" type="presParOf" srcId="{1C1576F0-F965-43CA-B32A-271CCC8BBE86}" destId="{85F8F4F9-A189-4398-A8B3-F2745C1D6428}" srcOrd="0" destOrd="0" presId="urn:microsoft.com/office/officeart/2005/8/layout/process5"/>
    <dgm:cxn modelId="{44495425-FD3D-4601-B8CD-50CA90AFFB9C}" type="presParOf" srcId="{4D8136A5-3F30-45AA-B210-E6DC1A363333}" destId="{0F8E0B5A-7A04-431A-87B3-CE4D5A0BAED8}" srcOrd="6" destOrd="0" presId="urn:microsoft.com/office/officeart/2005/8/layout/process5"/>
    <dgm:cxn modelId="{025CE82A-43E3-4F8C-BB27-1525E823A151}" type="presParOf" srcId="{4D8136A5-3F30-45AA-B210-E6DC1A363333}" destId="{146D39EE-E291-4A55-A806-C0AAF9B2D750}" srcOrd="7" destOrd="0" presId="urn:microsoft.com/office/officeart/2005/8/layout/process5"/>
    <dgm:cxn modelId="{4E134046-A60B-4A9F-A24E-D6C277428737}" type="presParOf" srcId="{146D39EE-E291-4A55-A806-C0AAF9B2D750}" destId="{0D52AAAC-72B5-4F0D-A479-EE25E91D17FA}" srcOrd="0" destOrd="0" presId="urn:microsoft.com/office/officeart/2005/8/layout/process5"/>
    <dgm:cxn modelId="{12432CFE-1B15-46BA-A155-3B7A89060098}" type="presParOf" srcId="{4D8136A5-3F30-45AA-B210-E6DC1A363333}" destId="{31C59386-C4B7-40D6-B155-A0CC8046E80A}" srcOrd="8" destOrd="0" presId="urn:microsoft.com/office/officeart/2005/8/layout/process5"/>
    <dgm:cxn modelId="{D69F7A9A-8663-4695-A922-04F55B40F1CF}" type="presParOf" srcId="{4D8136A5-3F30-45AA-B210-E6DC1A363333}" destId="{129179D8-F1A1-40F4-9A2C-40E0816CEE97}" srcOrd="9" destOrd="0" presId="urn:microsoft.com/office/officeart/2005/8/layout/process5"/>
    <dgm:cxn modelId="{3CE6FDDA-1AA7-459E-9E5D-625622BD1351}" type="presParOf" srcId="{129179D8-F1A1-40F4-9A2C-40E0816CEE97}" destId="{5C3E99B5-E9A3-407F-8CEC-72BBE218F501}" srcOrd="0" destOrd="0" presId="urn:microsoft.com/office/officeart/2005/8/layout/process5"/>
    <dgm:cxn modelId="{CE462FEC-EAC8-4DF0-9DDA-EC1D6EE0C594}" type="presParOf" srcId="{4D8136A5-3F30-45AA-B210-E6DC1A363333}" destId="{690FBC40-FDDA-4C5F-B2B6-BA82ED89E8AB}" srcOrd="10" destOrd="0" presId="urn:microsoft.com/office/officeart/2005/8/layout/process5"/>
    <dgm:cxn modelId="{B947FB25-0497-43C0-9BC3-AC50C4955200}" type="presParOf" srcId="{4D8136A5-3F30-45AA-B210-E6DC1A363333}" destId="{712EC755-27ED-4385-B25F-5FC38AA796EA}" srcOrd="11" destOrd="0" presId="urn:microsoft.com/office/officeart/2005/8/layout/process5"/>
    <dgm:cxn modelId="{E6EB99E8-4EA8-46E6-B22D-F74604F78639}" type="presParOf" srcId="{712EC755-27ED-4385-B25F-5FC38AA796EA}" destId="{A7C7801C-7FF8-4422-8F86-5DE2EFFBEAC9}" srcOrd="0" destOrd="0" presId="urn:microsoft.com/office/officeart/2005/8/layout/process5"/>
    <dgm:cxn modelId="{7E1F2D6D-2A22-4FE2-931A-CF9724DA24AB}" type="presParOf" srcId="{4D8136A5-3F30-45AA-B210-E6DC1A363333}" destId="{F639EC19-084D-49F5-9E58-EB3628B51725}" srcOrd="12" destOrd="0" presId="urn:microsoft.com/office/officeart/2005/8/layout/process5"/>
    <dgm:cxn modelId="{620E638F-7141-4EA2-832E-0482825D946E}" type="presParOf" srcId="{4D8136A5-3F30-45AA-B210-E6DC1A363333}" destId="{80E0436E-71CC-41C1-8D7D-660629542254}" srcOrd="13" destOrd="0" presId="urn:microsoft.com/office/officeart/2005/8/layout/process5"/>
    <dgm:cxn modelId="{8300DD5E-8A79-4EDE-A9B0-2B21ECCB41A4}" type="presParOf" srcId="{80E0436E-71CC-41C1-8D7D-660629542254}" destId="{BCCD68E4-D387-4246-A939-F70CDD46A379}" srcOrd="0" destOrd="0" presId="urn:microsoft.com/office/officeart/2005/8/layout/process5"/>
    <dgm:cxn modelId="{D0E15FB0-7B00-4FC6-9721-22638221E67B}" type="presParOf" srcId="{4D8136A5-3F30-45AA-B210-E6DC1A363333}" destId="{A3D97B7B-5134-4984-99E5-28CB9B4EF218}" srcOrd="14" destOrd="0" presId="urn:microsoft.com/office/officeart/2005/8/layout/process5"/>
    <dgm:cxn modelId="{6781AD0E-9921-48C5-ACB5-F35B6D008281}" type="presParOf" srcId="{4D8136A5-3F30-45AA-B210-E6DC1A363333}" destId="{93ED5C7C-D354-4B63-B1A5-98F30573BA3F}" srcOrd="15" destOrd="0" presId="urn:microsoft.com/office/officeart/2005/8/layout/process5"/>
    <dgm:cxn modelId="{FC75CD77-13E4-4255-A4F0-C821E11F89C8}" type="presParOf" srcId="{93ED5C7C-D354-4B63-B1A5-98F30573BA3F}" destId="{3F1C6988-5F4F-4DB3-B9AC-112C7018D945}" srcOrd="0" destOrd="0" presId="urn:microsoft.com/office/officeart/2005/8/layout/process5"/>
    <dgm:cxn modelId="{2C428905-431D-4AC7-A879-17A8163A8A67}" type="presParOf" srcId="{4D8136A5-3F30-45AA-B210-E6DC1A363333}" destId="{DCD2E134-18E4-4A63-985E-935770130ECA}" srcOrd="16" destOrd="0" presId="urn:microsoft.com/office/officeart/2005/8/layout/process5"/>
    <dgm:cxn modelId="{49520D86-A19A-4A75-AB6C-C2B87C5AF4E1}" type="presParOf" srcId="{4D8136A5-3F30-45AA-B210-E6DC1A363333}" destId="{34B32203-6E3D-4FC3-8C20-BA232E1118F8}" srcOrd="17" destOrd="0" presId="urn:microsoft.com/office/officeart/2005/8/layout/process5"/>
    <dgm:cxn modelId="{F5735F6A-177A-48A6-8301-B86CF3AC1A7A}" type="presParOf" srcId="{34B32203-6E3D-4FC3-8C20-BA232E1118F8}" destId="{D3222887-04A1-4CCD-8880-440D470B6952}" srcOrd="0" destOrd="0" presId="urn:microsoft.com/office/officeart/2005/8/layout/process5"/>
    <dgm:cxn modelId="{8EB85282-1529-4025-951C-69D14B08A332}" type="presParOf" srcId="{4D8136A5-3F30-45AA-B210-E6DC1A363333}" destId="{3784431B-A1D2-4F51-BAB6-613E7DE2F203}" srcOrd="18" destOrd="0" presId="urn:microsoft.com/office/officeart/2005/8/layout/process5"/>
    <dgm:cxn modelId="{D04FABF0-C223-47FD-8A4D-2E2B8B81E335}" type="presParOf" srcId="{4D8136A5-3F30-45AA-B210-E6DC1A363333}" destId="{62B8C3F5-D24E-4911-9A28-DC73917E4F97}" srcOrd="19" destOrd="0" presId="urn:microsoft.com/office/officeart/2005/8/layout/process5"/>
    <dgm:cxn modelId="{E8B8846A-5823-474B-94CE-6565EC2CB1F5}" type="presParOf" srcId="{62B8C3F5-D24E-4911-9A28-DC73917E4F97}" destId="{DD705FBE-A0A7-4B15-807E-53BFF40C8CD6}" srcOrd="0" destOrd="0" presId="urn:microsoft.com/office/officeart/2005/8/layout/process5"/>
    <dgm:cxn modelId="{D3BA86B1-94F3-4F3E-B5FC-2068C9334D0C}" type="presParOf" srcId="{4D8136A5-3F30-45AA-B210-E6DC1A363333}" destId="{5F5077B9-6403-4CA3-A211-50F26931E7F4}" srcOrd="20" destOrd="0" presId="urn:microsoft.com/office/officeart/2005/8/layout/process5"/>
    <dgm:cxn modelId="{8A76DCD9-3339-4899-B56F-BD72896CC1F1}" type="presParOf" srcId="{4D8136A5-3F30-45AA-B210-E6DC1A363333}" destId="{2BD63230-0B68-46D0-BFFA-9007776AF906}" srcOrd="21" destOrd="0" presId="urn:microsoft.com/office/officeart/2005/8/layout/process5"/>
    <dgm:cxn modelId="{0502EF86-5732-4D92-B2E3-5512CF657793}" type="presParOf" srcId="{2BD63230-0B68-46D0-BFFA-9007776AF906}" destId="{7254C4FA-B3BE-40B0-86D0-7CBEF0045736}" srcOrd="0" destOrd="0" presId="urn:microsoft.com/office/officeart/2005/8/layout/process5"/>
    <dgm:cxn modelId="{C8B34637-77DD-43D9-B8EF-D505D3BD7D96}" type="presParOf" srcId="{4D8136A5-3F30-45AA-B210-E6DC1A363333}" destId="{30C3B839-ABC7-415C-BDBD-002D29D76B3E}" srcOrd="22" destOrd="0" presId="urn:microsoft.com/office/officeart/2005/8/layout/process5"/>
    <dgm:cxn modelId="{840FCAB0-9280-4A1A-BFDA-BAD4CFB9364B}" type="presParOf" srcId="{4D8136A5-3F30-45AA-B210-E6DC1A363333}" destId="{E1AFE8D9-682C-4DBA-96E1-38857C1CB86F}" srcOrd="23" destOrd="0" presId="urn:microsoft.com/office/officeart/2005/8/layout/process5"/>
    <dgm:cxn modelId="{0CBA9104-DCEE-4E47-9B2C-03D3B862B08F}" type="presParOf" srcId="{E1AFE8D9-682C-4DBA-96E1-38857C1CB86F}" destId="{3D86C70B-1475-462B-B230-7E25D8175E4F}" srcOrd="0" destOrd="0" presId="urn:microsoft.com/office/officeart/2005/8/layout/process5"/>
    <dgm:cxn modelId="{AE78AB37-2D61-45CA-9B3F-C0CA7DE1C50E}" type="presParOf" srcId="{4D8136A5-3F30-45AA-B210-E6DC1A363333}" destId="{67F48EE6-9E13-467F-868A-7E25FC77C6D3}" srcOrd="24" destOrd="0" presId="urn:microsoft.com/office/officeart/2005/8/layout/process5"/>
    <dgm:cxn modelId="{A94D2336-36B2-4B19-B27D-8706919C14C0}" type="presParOf" srcId="{4D8136A5-3F30-45AA-B210-E6DC1A363333}" destId="{D77E4194-8596-4B69-A0FF-70ED9CE214D5}" srcOrd="25" destOrd="0" presId="urn:microsoft.com/office/officeart/2005/8/layout/process5"/>
    <dgm:cxn modelId="{8E8AB038-E9CD-461B-A5B3-0A9155083A48}" type="presParOf" srcId="{D77E4194-8596-4B69-A0FF-70ED9CE214D5}" destId="{4C30417D-0060-4510-A3C2-FE8DB92565DB}" srcOrd="0" destOrd="0" presId="urn:microsoft.com/office/officeart/2005/8/layout/process5"/>
    <dgm:cxn modelId="{5067AE9C-7947-4A57-9647-2DDA00309656}" type="presParOf" srcId="{4D8136A5-3F30-45AA-B210-E6DC1A363333}" destId="{F3AB15D3-FABF-4B10-B398-3E5BFB0B7C14}" srcOrd="26" destOrd="0" presId="urn:microsoft.com/office/officeart/2005/8/layout/process5"/>
    <dgm:cxn modelId="{AEDF5FFE-15EE-411A-A60B-FD332C5B35B2}" type="presParOf" srcId="{4D8136A5-3F30-45AA-B210-E6DC1A363333}" destId="{BCC3FB23-5361-48DA-8D73-5F5B8257D0BC}" srcOrd="27" destOrd="0" presId="urn:microsoft.com/office/officeart/2005/8/layout/process5"/>
    <dgm:cxn modelId="{3B9A0999-09B3-4029-925D-EBCB20330A0B}" type="presParOf" srcId="{BCC3FB23-5361-48DA-8D73-5F5B8257D0BC}" destId="{7C720342-5D4D-4662-BB66-7DCB0B22EF19}" srcOrd="0" destOrd="0" presId="urn:microsoft.com/office/officeart/2005/8/layout/process5"/>
    <dgm:cxn modelId="{08731519-11AF-47EB-BEDF-75194917FC16}" type="presParOf" srcId="{4D8136A5-3F30-45AA-B210-E6DC1A363333}" destId="{8E878BC4-8912-4178-9F2E-63BF1ECFFBEA}" srcOrd="28" destOrd="0" presId="urn:microsoft.com/office/officeart/2005/8/layout/process5"/>
    <dgm:cxn modelId="{AB72D09C-DB16-455E-9C3D-36BBA858B0E2}" type="presParOf" srcId="{4D8136A5-3F30-45AA-B210-E6DC1A363333}" destId="{C59C0CB7-149E-4435-B690-0528D8EFBEA5}" srcOrd="29" destOrd="0" presId="urn:microsoft.com/office/officeart/2005/8/layout/process5"/>
    <dgm:cxn modelId="{F8A19CFE-C928-424C-BFD1-E153044F487C}" type="presParOf" srcId="{C59C0CB7-149E-4435-B690-0528D8EFBEA5}" destId="{32E00774-6B19-4CAA-A09B-1A2C4D70DCFA}" srcOrd="0" destOrd="0" presId="urn:microsoft.com/office/officeart/2005/8/layout/process5"/>
    <dgm:cxn modelId="{10AE416F-8A7E-40A2-BA86-670EC0E8DEDD}" type="presParOf" srcId="{4D8136A5-3F30-45AA-B210-E6DC1A363333}" destId="{943BC048-A90D-4D9E-9821-A85ACAC327CA}" srcOrd="30" destOrd="0" presId="urn:microsoft.com/office/officeart/2005/8/layout/process5"/>
    <dgm:cxn modelId="{2055C11C-2B72-4526-A2B1-0958672CA149}" type="presParOf" srcId="{4D8136A5-3F30-45AA-B210-E6DC1A363333}" destId="{62E498A3-2517-45DC-9A8A-B34427D9BB6A}" srcOrd="31" destOrd="0" presId="urn:microsoft.com/office/officeart/2005/8/layout/process5"/>
    <dgm:cxn modelId="{575A9892-4C8F-47E6-9E2F-BF3DF60A10FF}" type="presParOf" srcId="{62E498A3-2517-45DC-9A8A-B34427D9BB6A}" destId="{FECEF29F-53FE-447A-BFEB-12F0A2DF6317}" srcOrd="0" destOrd="0" presId="urn:microsoft.com/office/officeart/2005/8/layout/process5"/>
    <dgm:cxn modelId="{C186222E-37C2-4A60-8F5C-B67F34DFC01B}" type="presParOf" srcId="{4D8136A5-3F30-45AA-B210-E6DC1A363333}" destId="{C2AC126E-D58A-4775-9E89-4DDBC214AEC1}" srcOrd="32" destOrd="0" presId="urn:microsoft.com/office/officeart/2005/8/layout/process5"/>
    <dgm:cxn modelId="{D312A336-7FF5-4F88-80DB-8FAEFEAE8715}" type="presParOf" srcId="{4D8136A5-3F30-45AA-B210-E6DC1A363333}" destId="{65357D0F-DA24-4B22-B866-9C5F45D83539}" srcOrd="33" destOrd="0" presId="urn:microsoft.com/office/officeart/2005/8/layout/process5"/>
    <dgm:cxn modelId="{C80BE870-2243-4ABB-9133-104C318D4AEF}" type="presParOf" srcId="{65357D0F-DA24-4B22-B866-9C5F45D83539}" destId="{1406B004-60F2-4DD9-810B-680BEBC77DF8}" srcOrd="0" destOrd="0" presId="urn:microsoft.com/office/officeart/2005/8/layout/process5"/>
    <dgm:cxn modelId="{DD9B3CB4-BEDA-435C-B1AD-AF07A6D2DE90}" type="presParOf" srcId="{4D8136A5-3F30-45AA-B210-E6DC1A363333}" destId="{D6E5D510-5AE4-40FC-8E5D-C5B3280B3071}" srcOrd="34" destOrd="0" presId="urn:microsoft.com/office/officeart/2005/8/layout/process5"/>
    <dgm:cxn modelId="{F5F167B2-F573-434C-93C4-CE67E552A207}" type="presParOf" srcId="{4D8136A5-3F30-45AA-B210-E6DC1A363333}" destId="{F0D65399-0147-47D5-9455-0DE6DE7AB3D4}" srcOrd="35" destOrd="0" presId="urn:microsoft.com/office/officeart/2005/8/layout/process5"/>
    <dgm:cxn modelId="{38635107-29AD-412B-9CC5-6C72316768D3}" type="presParOf" srcId="{F0D65399-0147-47D5-9455-0DE6DE7AB3D4}" destId="{B0EB730C-F0B6-4ACB-9FE9-C5BD5E852DC9}" srcOrd="0" destOrd="0" presId="urn:microsoft.com/office/officeart/2005/8/layout/process5"/>
    <dgm:cxn modelId="{2C183347-E5D9-4A06-8723-2052A774E882}" type="presParOf" srcId="{4D8136A5-3F30-45AA-B210-E6DC1A363333}" destId="{85255D68-460B-43F3-98F6-D967AFF13228}" srcOrd="36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B32E410-3365-494B-A367-1744D2F2D527}">
      <dsp:nvSpPr>
        <dsp:cNvPr id="0" name=""/>
        <dsp:cNvSpPr/>
      </dsp:nvSpPr>
      <dsp:spPr>
        <a:xfrm>
          <a:off x="632059" y="981"/>
          <a:ext cx="1370212" cy="822127"/>
        </a:xfrm>
        <a:prstGeom prst="roundRect">
          <a:avLst>
            <a:gd name="adj" fmla="val 10000"/>
          </a:avLst>
        </a:prstGeom>
        <a:solidFill>
          <a:srgbClr val="92D050"/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1" kern="1200" dirty="0">
              <a:solidFill>
                <a:schemeClr val="bg1"/>
              </a:solidFill>
            </a:rPr>
            <a:t>Příprava a zahájení procesu</a:t>
          </a:r>
        </a:p>
      </dsp:txBody>
      <dsp:txXfrm>
        <a:off x="656138" y="25060"/>
        <a:ext cx="1322054" cy="773969"/>
      </dsp:txXfrm>
    </dsp:sp>
    <dsp:sp modelId="{85E440E1-6AC4-4872-8CDB-AACE7C1CF22B}">
      <dsp:nvSpPr>
        <dsp:cNvPr id="0" name=""/>
        <dsp:cNvSpPr/>
      </dsp:nvSpPr>
      <dsp:spPr>
        <a:xfrm>
          <a:off x="2122850" y="242138"/>
          <a:ext cx="290485" cy="339812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b="0" kern="1200"/>
        </a:p>
      </dsp:txBody>
      <dsp:txXfrm>
        <a:off x="2122850" y="310100"/>
        <a:ext cx="203340" cy="203888"/>
      </dsp:txXfrm>
    </dsp:sp>
    <dsp:sp modelId="{3302F8D1-6174-43B6-80F6-7ABEF5395251}">
      <dsp:nvSpPr>
        <dsp:cNvPr id="0" name=""/>
        <dsp:cNvSpPr/>
      </dsp:nvSpPr>
      <dsp:spPr>
        <a:xfrm>
          <a:off x="2550357" y="981"/>
          <a:ext cx="1370212" cy="82212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1" kern="1200" dirty="0"/>
            <a:t>Vyhledání a oslovení zájemce</a:t>
          </a:r>
        </a:p>
      </dsp:txBody>
      <dsp:txXfrm>
        <a:off x="2574436" y="25060"/>
        <a:ext cx="1322054" cy="773969"/>
      </dsp:txXfrm>
    </dsp:sp>
    <dsp:sp modelId="{1C1576F0-F965-43CA-B32A-271CCC8BBE86}">
      <dsp:nvSpPr>
        <dsp:cNvPr id="0" name=""/>
        <dsp:cNvSpPr/>
      </dsp:nvSpPr>
      <dsp:spPr>
        <a:xfrm>
          <a:off x="4041148" y="242138"/>
          <a:ext cx="290485" cy="339812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kern="1200"/>
        </a:p>
      </dsp:txBody>
      <dsp:txXfrm>
        <a:off x="4041148" y="310100"/>
        <a:ext cx="203340" cy="203888"/>
      </dsp:txXfrm>
    </dsp:sp>
    <dsp:sp modelId="{31C59386-C4B7-40D6-B155-A0CC8046E80A}">
      <dsp:nvSpPr>
        <dsp:cNvPr id="0" name=""/>
        <dsp:cNvSpPr/>
      </dsp:nvSpPr>
      <dsp:spPr>
        <a:xfrm>
          <a:off x="4468655" y="981"/>
          <a:ext cx="1370212" cy="82212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1" kern="1200" dirty="0"/>
            <a:t>Dohoda o mlčenlivosti (</a:t>
          </a:r>
          <a:r>
            <a:rPr lang="cs-CZ" sz="1200" b="1" kern="1200" dirty="0" err="1"/>
            <a:t>NDA</a:t>
          </a:r>
          <a:r>
            <a:rPr lang="cs-CZ" sz="1200" b="1" kern="1200" dirty="0"/>
            <a:t>)</a:t>
          </a:r>
        </a:p>
      </dsp:txBody>
      <dsp:txXfrm>
        <a:off x="4492734" y="25060"/>
        <a:ext cx="1322054" cy="773969"/>
      </dsp:txXfrm>
    </dsp:sp>
    <dsp:sp modelId="{129179D8-F1A1-40F4-9A2C-40E0816CEE97}">
      <dsp:nvSpPr>
        <dsp:cNvPr id="0" name=""/>
        <dsp:cNvSpPr/>
      </dsp:nvSpPr>
      <dsp:spPr>
        <a:xfrm>
          <a:off x="5959446" y="242138"/>
          <a:ext cx="290485" cy="339812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kern="1200"/>
        </a:p>
      </dsp:txBody>
      <dsp:txXfrm>
        <a:off x="5959446" y="310100"/>
        <a:ext cx="203340" cy="203888"/>
      </dsp:txXfrm>
    </dsp:sp>
    <dsp:sp modelId="{690FBC40-FDDA-4C5F-B2B6-BA82ED89E8AB}">
      <dsp:nvSpPr>
        <dsp:cNvPr id="0" name=""/>
        <dsp:cNvSpPr/>
      </dsp:nvSpPr>
      <dsp:spPr>
        <a:xfrm>
          <a:off x="6386952" y="981"/>
          <a:ext cx="1370212" cy="82212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0" i="1" kern="1200" dirty="0"/>
            <a:t>Informační Memorandum, Management </a:t>
          </a:r>
          <a:r>
            <a:rPr lang="cs-CZ" sz="1200" b="0" i="1" kern="1200" dirty="0" err="1"/>
            <a:t>Presentations</a:t>
          </a:r>
          <a:endParaRPr lang="cs-CZ" sz="1200" b="0" i="1" kern="1200" dirty="0"/>
        </a:p>
      </dsp:txBody>
      <dsp:txXfrm>
        <a:off x="6411031" y="25060"/>
        <a:ext cx="1322054" cy="773969"/>
      </dsp:txXfrm>
    </dsp:sp>
    <dsp:sp modelId="{712EC755-27ED-4385-B25F-5FC38AA796EA}">
      <dsp:nvSpPr>
        <dsp:cNvPr id="0" name=""/>
        <dsp:cNvSpPr/>
      </dsp:nvSpPr>
      <dsp:spPr>
        <a:xfrm rot="5400000">
          <a:off x="6926816" y="919024"/>
          <a:ext cx="290485" cy="339812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kern="1200"/>
        </a:p>
      </dsp:txBody>
      <dsp:txXfrm rot="-5400000">
        <a:off x="6970115" y="943688"/>
        <a:ext cx="203888" cy="203340"/>
      </dsp:txXfrm>
    </dsp:sp>
    <dsp:sp modelId="{A3D97B7B-5134-4984-99E5-28CB9B4EF218}">
      <dsp:nvSpPr>
        <dsp:cNvPr id="0" name=""/>
        <dsp:cNvSpPr/>
      </dsp:nvSpPr>
      <dsp:spPr>
        <a:xfrm>
          <a:off x="6386952" y="1371194"/>
          <a:ext cx="1370212" cy="82212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0" i="1" kern="1200" dirty="0" err="1"/>
            <a:t>LoI</a:t>
          </a:r>
          <a:r>
            <a:rPr lang="cs-CZ" sz="1200" b="0" i="1" kern="1200" dirty="0"/>
            <a:t> 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0" i="1" kern="1200" dirty="0"/>
            <a:t>nebo 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0" i="1" kern="1200" dirty="0"/>
            <a:t>Term-</a:t>
          </a:r>
          <a:r>
            <a:rPr lang="cs-CZ" sz="1200" b="0" i="1" kern="1200" dirty="0" err="1"/>
            <a:t>Sheet</a:t>
          </a:r>
          <a:endParaRPr lang="cs-CZ" sz="1200" b="0" i="1" kern="1200" dirty="0"/>
        </a:p>
      </dsp:txBody>
      <dsp:txXfrm>
        <a:off x="6411031" y="1395273"/>
        <a:ext cx="1322054" cy="773969"/>
      </dsp:txXfrm>
    </dsp:sp>
    <dsp:sp modelId="{93ED5C7C-D354-4B63-B1A5-98F30573BA3F}">
      <dsp:nvSpPr>
        <dsp:cNvPr id="0" name=""/>
        <dsp:cNvSpPr/>
      </dsp:nvSpPr>
      <dsp:spPr>
        <a:xfrm rot="10800000">
          <a:off x="5975889" y="1612351"/>
          <a:ext cx="290485" cy="339812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kern="1200"/>
        </a:p>
      </dsp:txBody>
      <dsp:txXfrm rot="10800000">
        <a:off x="6063034" y="1680313"/>
        <a:ext cx="203340" cy="203888"/>
      </dsp:txXfrm>
    </dsp:sp>
    <dsp:sp modelId="{DCD2E134-18E4-4A63-985E-935770130ECA}">
      <dsp:nvSpPr>
        <dsp:cNvPr id="0" name=""/>
        <dsp:cNvSpPr/>
      </dsp:nvSpPr>
      <dsp:spPr>
        <a:xfrm>
          <a:off x="4468655" y="1371194"/>
          <a:ext cx="1370212" cy="82212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1" kern="1200" dirty="0" err="1"/>
            <a:t>Due</a:t>
          </a:r>
          <a:r>
            <a:rPr lang="cs-CZ" sz="1200" b="1" kern="1200" dirty="0"/>
            <a:t> Diligence (Data </a:t>
          </a:r>
          <a:r>
            <a:rPr lang="cs-CZ" sz="1200" b="1" kern="1200" dirty="0" err="1"/>
            <a:t>Room</a:t>
          </a:r>
          <a:r>
            <a:rPr lang="cs-CZ" sz="1200" b="1" kern="1200" dirty="0"/>
            <a:t>)</a:t>
          </a:r>
          <a:endParaRPr lang="cs-CZ" sz="1200" b="0" i="1" kern="1200" dirty="0"/>
        </a:p>
      </dsp:txBody>
      <dsp:txXfrm>
        <a:off x="4492734" y="1395273"/>
        <a:ext cx="1322054" cy="773969"/>
      </dsp:txXfrm>
    </dsp:sp>
    <dsp:sp modelId="{34B32203-6E3D-4FC3-8C20-BA232E1118F8}">
      <dsp:nvSpPr>
        <dsp:cNvPr id="0" name=""/>
        <dsp:cNvSpPr/>
      </dsp:nvSpPr>
      <dsp:spPr>
        <a:xfrm rot="10800000">
          <a:off x="4057591" y="1612351"/>
          <a:ext cx="290485" cy="339812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b="0" kern="1200"/>
        </a:p>
      </dsp:txBody>
      <dsp:txXfrm rot="10800000">
        <a:off x="4144736" y="1680313"/>
        <a:ext cx="203340" cy="203888"/>
      </dsp:txXfrm>
    </dsp:sp>
    <dsp:sp modelId="{3784431B-A1D2-4F51-BAB6-613E7DE2F203}">
      <dsp:nvSpPr>
        <dsp:cNvPr id="0" name=""/>
        <dsp:cNvSpPr/>
      </dsp:nvSpPr>
      <dsp:spPr>
        <a:xfrm>
          <a:off x="2550357" y="1371194"/>
          <a:ext cx="1370212" cy="82212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1" kern="1200" dirty="0"/>
            <a:t>Návrh kupní smlouvy (</a:t>
          </a:r>
          <a:r>
            <a:rPr lang="cs-CZ" sz="1200" b="1" kern="1200" dirty="0" err="1"/>
            <a:t>SPA</a:t>
          </a:r>
          <a:r>
            <a:rPr lang="cs-CZ" sz="1200" b="1" kern="1200" dirty="0"/>
            <a:t>)</a:t>
          </a:r>
        </a:p>
      </dsp:txBody>
      <dsp:txXfrm>
        <a:off x="2574436" y="1395273"/>
        <a:ext cx="1322054" cy="773969"/>
      </dsp:txXfrm>
    </dsp:sp>
    <dsp:sp modelId="{62B8C3F5-D24E-4911-9A28-DC73917E4F97}">
      <dsp:nvSpPr>
        <dsp:cNvPr id="0" name=""/>
        <dsp:cNvSpPr/>
      </dsp:nvSpPr>
      <dsp:spPr>
        <a:xfrm rot="10800000">
          <a:off x="2139293" y="1612351"/>
          <a:ext cx="290485" cy="339812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b="0" kern="1200"/>
        </a:p>
      </dsp:txBody>
      <dsp:txXfrm rot="10800000">
        <a:off x="2226438" y="1680313"/>
        <a:ext cx="203340" cy="203888"/>
      </dsp:txXfrm>
    </dsp:sp>
    <dsp:sp modelId="{F3AB15D3-FABF-4B10-B398-3E5BFB0B7C14}">
      <dsp:nvSpPr>
        <dsp:cNvPr id="0" name=""/>
        <dsp:cNvSpPr/>
      </dsp:nvSpPr>
      <dsp:spPr>
        <a:xfrm>
          <a:off x="632059" y="1371194"/>
          <a:ext cx="1370212" cy="82212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1" kern="1200" dirty="0"/>
            <a:t>Jednání, dohoda („</a:t>
          </a:r>
          <a:r>
            <a:rPr lang="cs-CZ" sz="1200" b="1" kern="1200" dirty="0" err="1"/>
            <a:t>Agreed</a:t>
          </a:r>
          <a:r>
            <a:rPr lang="cs-CZ" sz="1200" b="1" kern="1200" dirty="0"/>
            <a:t> </a:t>
          </a:r>
          <a:r>
            <a:rPr lang="cs-CZ" sz="1200" b="1" kern="1200" dirty="0" err="1"/>
            <a:t>form</a:t>
          </a:r>
          <a:r>
            <a:rPr lang="cs-CZ" sz="1200" b="1" kern="1200" dirty="0"/>
            <a:t> </a:t>
          </a:r>
          <a:r>
            <a:rPr lang="cs-CZ" sz="1200" b="1" kern="1200" dirty="0" err="1"/>
            <a:t>SPA</a:t>
          </a:r>
          <a:r>
            <a:rPr lang="cs-CZ" sz="1200" b="1" kern="1200" dirty="0"/>
            <a:t>“)</a:t>
          </a:r>
        </a:p>
      </dsp:txBody>
      <dsp:txXfrm>
        <a:off x="656138" y="1395273"/>
        <a:ext cx="1322054" cy="773969"/>
      </dsp:txXfrm>
    </dsp:sp>
    <dsp:sp modelId="{BCC3FB23-5361-48DA-8D73-5F5B8257D0BC}">
      <dsp:nvSpPr>
        <dsp:cNvPr id="0" name=""/>
        <dsp:cNvSpPr/>
      </dsp:nvSpPr>
      <dsp:spPr>
        <a:xfrm rot="5400000">
          <a:off x="1171923" y="2289236"/>
          <a:ext cx="290485" cy="339812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kern="1200"/>
        </a:p>
      </dsp:txBody>
      <dsp:txXfrm rot="-5400000">
        <a:off x="1215222" y="2313900"/>
        <a:ext cx="203888" cy="203340"/>
      </dsp:txXfrm>
    </dsp:sp>
    <dsp:sp modelId="{8E878BC4-8912-4178-9F2E-63BF1ECFFBEA}">
      <dsp:nvSpPr>
        <dsp:cNvPr id="0" name=""/>
        <dsp:cNvSpPr/>
      </dsp:nvSpPr>
      <dsp:spPr>
        <a:xfrm>
          <a:off x="632059" y="2741407"/>
          <a:ext cx="1370212" cy="82212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1" kern="1200" dirty="0"/>
            <a:t>Podpis (</a:t>
          </a:r>
          <a:r>
            <a:rPr lang="cs-CZ" sz="1200" b="1" kern="1200" dirty="0" err="1"/>
            <a:t>Signing</a:t>
          </a:r>
          <a:r>
            <a:rPr lang="cs-CZ" sz="1200" b="1" kern="1200" dirty="0"/>
            <a:t>)</a:t>
          </a:r>
          <a:endParaRPr lang="cs-CZ" sz="1200" b="0" i="1" kern="1200" dirty="0"/>
        </a:p>
      </dsp:txBody>
      <dsp:txXfrm>
        <a:off x="656138" y="2765486"/>
        <a:ext cx="1322054" cy="773969"/>
      </dsp:txXfrm>
    </dsp:sp>
    <dsp:sp modelId="{C59C0CB7-149E-4435-B690-0528D8EFBEA5}">
      <dsp:nvSpPr>
        <dsp:cNvPr id="0" name=""/>
        <dsp:cNvSpPr/>
      </dsp:nvSpPr>
      <dsp:spPr>
        <a:xfrm>
          <a:off x="2122850" y="2982564"/>
          <a:ext cx="290485" cy="339812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kern="1200"/>
        </a:p>
      </dsp:txBody>
      <dsp:txXfrm>
        <a:off x="2122850" y="3050526"/>
        <a:ext cx="203340" cy="203888"/>
      </dsp:txXfrm>
    </dsp:sp>
    <dsp:sp modelId="{943BC048-A90D-4D9E-9821-A85ACAC327CA}">
      <dsp:nvSpPr>
        <dsp:cNvPr id="0" name=""/>
        <dsp:cNvSpPr/>
      </dsp:nvSpPr>
      <dsp:spPr>
        <a:xfrm>
          <a:off x="2550357" y="2741407"/>
          <a:ext cx="1370212" cy="82212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1" i="0" kern="1200" dirty="0"/>
            <a:t>Odkládací podmínky / </a:t>
          </a:r>
          <a:r>
            <a:rPr lang="cs-CZ" sz="1200" b="1" i="0" kern="1200" dirty="0" err="1"/>
            <a:t>CPs</a:t>
          </a:r>
          <a:endParaRPr lang="cs-CZ" sz="1200" b="1" i="0" kern="1200" dirty="0"/>
        </a:p>
      </dsp:txBody>
      <dsp:txXfrm>
        <a:off x="2574436" y="2765486"/>
        <a:ext cx="1322054" cy="773969"/>
      </dsp:txXfrm>
    </dsp:sp>
    <dsp:sp modelId="{62E498A3-2517-45DC-9A8A-B34427D9BB6A}">
      <dsp:nvSpPr>
        <dsp:cNvPr id="0" name=""/>
        <dsp:cNvSpPr/>
      </dsp:nvSpPr>
      <dsp:spPr>
        <a:xfrm>
          <a:off x="4041148" y="2982564"/>
          <a:ext cx="290485" cy="339812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kern="1200"/>
        </a:p>
      </dsp:txBody>
      <dsp:txXfrm>
        <a:off x="4041148" y="3050526"/>
        <a:ext cx="203340" cy="203888"/>
      </dsp:txXfrm>
    </dsp:sp>
    <dsp:sp modelId="{C2AC126E-D58A-4775-9E89-4DDBC214AEC1}">
      <dsp:nvSpPr>
        <dsp:cNvPr id="0" name=""/>
        <dsp:cNvSpPr/>
      </dsp:nvSpPr>
      <dsp:spPr>
        <a:xfrm>
          <a:off x="4468655" y="2741407"/>
          <a:ext cx="1370212" cy="82212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1" i="0" kern="1200" dirty="0"/>
            <a:t>Vypořádání (</a:t>
          </a:r>
          <a:r>
            <a:rPr lang="cs-CZ" sz="1200" b="1" i="0" kern="1200" dirty="0" err="1"/>
            <a:t>Closing</a:t>
          </a:r>
          <a:r>
            <a:rPr lang="cs-CZ" sz="1200" b="1" i="0" kern="1200" dirty="0"/>
            <a:t>)</a:t>
          </a:r>
        </a:p>
      </dsp:txBody>
      <dsp:txXfrm>
        <a:off x="4492734" y="2765486"/>
        <a:ext cx="1322054" cy="773969"/>
      </dsp:txXfrm>
    </dsp:sp>
    <dsp:sp modelId="{65357D0F-DA24-4B22-B866-9C5F45D83539}">
      <dsp:nvSpPr>
        <dsp:cNvPr id="0" name=""/>
        <dsp:cNvSpPr/>
      </dsp:nvSpPr>
      <dsp:spPr>
        <a:xfrm>
          <a:off x="5959446" y="2982564"/>
          <a:ext cx="290485" cy="339812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b="0" kern="1200"/>
        </a:p>
      </dsp:txBody>
      <dsp:txXfrm>
        <a:off x="5959446" y="3050526"/>
        <a:ext cx="203340" cy="203888"/>
      </dsp:txXfrm>
    </dsp:sp>
    <dsp:sp modelId="{D6E5D510-5AE4-40FC-8E5D-C5B3280B3071}">
      <dsp:nvSpPr>
        <dsp:cNvPr id="0" name=""/>
        <dsp:cNvSpPr/>
      </dsp:nvSpPr>
      <dsp:spPr>
        <a:xfrm>
          <a:off x="6386952" y="2741407"/>
          <a:ext cx="1370212" cy="82212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1" i="0" kern="1200" dirty="0"/>
            <a:t>Úpravy ceny / </a:t>
          </a:r>
          <a:r>
            <a:rPr lang="cs-CZ" sz="1200" b="1" i="0" kern="1200" dirty="0" err="1"/>
            <a:t>Closing</a:t>
          </a:r>
          <a:r>
            <a:rPr lang="cs-CZ" sz="1200" b="1" i="0" kern="1200" dirty="0"/>
            <a:t> </a:t>
          </a:r>
          <a:r>
            <a:rPr lang="cs-CZ" sz="1200" b="1" i="0" kern="1200" dirty="0" err="1"/>
            <a:t>Accounts</a:t>
          </a:r>
          <a:endParaRPr lang="cs-CZ" sz="1200" b="1" i="0" kern="1200" dirty="0"/>
        </a:p>
      </dsp:txBody>
      <dsp:txXfrm>
        <a:off x="6411031" y="2765486"/>
        <a:ext cx="1322054" cy="773969"/>
      </dsp:txXfrm>
    </dsp:sp>
    <dsp:sp modelId="{F0D65399-0147-47D5-9455-0DE6DE7AB3D4}">
      <dsp:nvSpPr>
        <dsp:cNvPr id="0" name=""/>
        <dsp:cNvSpPr/>
      </dsp:nvSpPr>
      <dsp:spPr>
        <a:xfrm rot="5400000">
          <a:off x="6926816" y="3659449"/>
          <a:ext cx="290485" cy="339812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b="0" kern="1200"/>
        </a:p>
      </dsp:txBody>
      <dsp:txXfrm rot="-5400000">
        <a:off x="6970115" y="3684113"/>
        <a:ext cx="203888" cy="203340"/>
      </dsp:txXfrm>
    </dsp:sp>
    <dsp:sp modelId="{85255D68-460B-43F3-98F6-D967AFF13228}">
      <dsp:nvSpPr>
        <dsp:cNvPr id="0" name=""/>
        <dsp:cNvSpPr/>
      </dsp:nvSpPr>
      <dsp:spPr>
        <a:xfrm>
          <a:off x="6386952" y="4111619"/>
          <a:ext cx="1370212" cy="822127"/>
        </a:xfrm>
        <a:prstGeom prst="roundRect">
          <a:avLst>
            <a:gd name="adj" fmla="val 10000"/>
          </a:avLst>
        </a:prstGeom>
        <a:solidFill>
          <a:srgbClr val="FF0000"/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1" i="0" kern="1200" dirty="0"/>
            <a:t>Následné podmínky / </a:t>
          </a:r>
          <a:r>
            <a:rPr lang="cs-CZ" sz="1200" b="1" i="0" kern="1200" dirty="0" err="1"/>
            <a:t>CSs</a:t>
          </a:r>
          <a:endParaRPr lang="cs-CZ" sz="1200" b="1" i="0" kern="1200" dirty="0"/>
        </a:p>
      </dsp:txBody>
      <dsp:txXfrm>
        <a:off x="6411031" y="4135698"/>
        <a:ext cx="1322054" cy="77396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B32E410-3365-494B-A367-1744D2F2D527}">
      <dsp:nvSpPr>
        <dsp:cNvPr id="0" name=""/>
        <dsp:cNvSpPr/>
      </dsp:nvSpPr>
      <dsp:spPr>
        <a:xfrm>
          <a:off x="4094" y="445757"/>
          <a:ext cx="1269301" cy="761580"/>
        </a:xfrm>
        <a:prstGeom prst="roundRect">
          <a:avLst>
            <a:gd name="adj" fmla="val 10000"/>
          </a:avLst>
        </a:prstGeom>
        <a:solidFill>
          <a:srgbClr val="92D050"/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>
              <a:solidFill>
                <a:schemeClr val="bg1"/>
              </a:solidFill>
            </a:rPr>
            <a:t>Příprava a zahájení procesu</a:t>
          </a:r>
        </a:p>
      </dsp:txBody>
      <dsp:txXfrm>
        <a:off x="26400" y="468063"/>
        <a:ext cx="1224689" cy="716968"/>
      </dsp:txXfrm>
    </dsp:sp>
    <dsp:sp modelId="{85E440E1-6AC4-4872-8CDB-AACE7C1CF22B}">
      <dsp:nvSpPr>
        <dsp:cNvPr id="0" name=""/>
        <dsp:cNvSpPr/>
      </dsp:nvSpPr>
      <dsp:spPr>
        <a:xfrm>
          <a:off x="1385094" y="669154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b="0" kern="1200"/>
        </a:p>
      </dsp:txBody>
      <dsp:txXfrm>
        <a:off x="1385094" y="732111"/>
        <a:ext cx="188364" cy="188872"/>
      </dsp:txXfrm>
    </dsp:sp>
    <dsp:sp modelId="{A6C325BF-53F1-45E4-A318-6910DE4A702E}">
      <dsp:nvSpPr>
        <dsp:cNvPr id="0" name=""/>
        <dsp:cNvSpPr/>
      </dsp:nvSpPr>
      <dsp:spPr>
        <a:xfrm>
          <a:off x="1781116" y="445757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 err="1"/>
            <a:t>Teaser</a:t>
          </a:r>
          <a:endParaRPr lang="cs-CZ" sz="1000" b="1" kern="1200" dirty="0"/>
        </a:p>
      </dsp:txBody>
      <dsp:txXfrm>
        <a:off x="1803422" y="468063"/>
        <a:ext cx="1224689" cy="716968"/>
      </dsp:txXfrm>
    </dsp:sp>
    <dsp:sp modelId="{7D86E2E3-F7F8-4162-AAD9-9C7A9544AFF4}">
      <dsp:nvSpPr>
        <dsp:cNvPr id="0" name=""/>
        <dsp:cNvSpPr/>
      </dsp:nvSpPr>
      <dsp:spPr>
        <a:xfrm>
          <a:off x="3162116" y="669154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kern="1200"/>
        </a:p>
      </dsp:txBody>
      <dsp:txXfrm>
        <a:off x="3162116" y="732111"/>
        <a:ext cx="188364" cy="188872"/>
      </dsp:txXfrm>
    </dsp:sp>
    <dsp:sp modelId="{3302F8D1-6174-43B6-80F6-7ABEF5395251}">
      <dsp:nvSpPr>
        <dsp:cNvPr id="0" name=""/>
        <dsp:cNvSpPr/>
      </dsp:nvSpPr>
      <dsp:spPr>
        <a:xfrm>
          <a:off x="3558138" y="445757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Vyhledání a oslovení zájemce/</a:t>
          </a:r>
          <a:r>
            <a:rPr lang="cs-CZ" sz="1000" b="1" kern="1200" dirty="0" err="1"/>
            <a:t>ců</a:t>
          </a:r>
          <a:endParaRPr lang="cs-CZ" sz="1000" b="1" kern="1200" dirty="0"/>
        </a:p>
      </dsp:txBody>
      <dsp:txXfrm>
        <a:off x="3580444" y="468063"/>
        <a:ext cx="1224689" cy="716968"/>
      </dsp:txXfrm>
    </dsp:sp>
    <dsp:sp modelId="{1C1576F0-F965-43CA-B32A-271CCC8BBE86}">
      <dsp:nvSpPr>
        <dsp:cNvPr id="0" name=""/>
        <dsp:cNvSpPr/>
      </dsp:nvSpPr>
      <dsp:spPr>
        <a:xfrm>
          <a:off x="4939138" y="669154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kern="1200"/>
        </a:p>
      </dsp:txBody>
      <dsp:txXfrm>
        <a:off x="4939138" y="732111"/>
        <a:ext cx="188364" cy="188872"/>
      </dsp:txXfrm>
    </dsp:sp>
    <dsp:sp modelId="{0F8E0B5A-7A04-431A-87B3-CE4D5A0BAED8}">
      <dsp:nvSpPr>
        <dsp:cNvPr id="0" name=""/>
        <dsp:cNvSpPr/>
      </dsp:nvSpPr>
      <dsp:spPr>
        <a:xfrm>
          <a:off x="5335160" y="445757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Vyjádření zájmu</a:t>
          </a:r>
        </a:p>
      </dsp:txBody>
      <dsp:txXfrm>
        <a:off x="5357466" y="468063"/>
        <a:ext cx="1224689" cy="716968"/>
      </dsp:txXfrm>
    </dsp:sp>
    <dsp:sp modelId="{146D39EE-E291-4A55-A806-C0AAF9B2D750}">
      <dsp:nvSpPr>
        <dsp:cNvPr id="0" name=""/>
        <dsp:cNvSpPr/>
      </dsp:nvSpPr>
      <dsp:spPr>
        <a:xfrm>
          <a:off x="6716160" y="669154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b="0" kern="1200"/>
        </a:p>
      </dsp:txBody>
      <dsp:txXfrm>
        <a:off x="6716160" y="732111"/>
        <a:ext cx="188364" cy="188872"/>
      </dsp:txXfrm>
    </dsp:sp>
    <dsp:sp modelId="{31C59386-C4B7-40D6-B155-A0CC8046E80A}">
      <dsp:nvSpPr>
        <dsp:cNvPr id="0" name=""/>
        <dsp:cNvSpPr/>
      </dsp:nvSpPr>
      <dsp:spPr>
        <a:xfrm>
          <a:off x="7112182" y="445757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Dohoda o mlčenlivosti (</a:t>
          </a:r>
          <a:r>
            <a:rPr lang="cs-CZ" sz="1000" b="1" kern="1200" dirty="0" err="1"/>
            <a:t>NDA</a:t>
          </a:r>
          <a:r>
            <a:rPr lang="cs-CZ" sz="1000" b="1" kern="1200" dirty="0"/>
            <a:t>)</a:t>
          </a:r>
        </a:p>
      </dsp:txBody>
      <dsp:txXfrm>
        <a:off x="7134488" y="468063"/>
        <a:ext cx="1224689" cy="716968"/>
      </dsp:txXfrm>
    </dsp:sp>
    <dsp:sp modelId="{129179D8-F1A1-40F4-9A2C-40E0816CEE97}">
      <dsp:nvSpPr>
        <dsp:cNvPr id="0" name=""/>
        <dsp:cNvSpPr/>
      </dsp:nvSpPr>
      <dsp:spPr>
        <a:xfrm rot="5400000">
          <a:off x="7612286" y="1296189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kern="1200"/>
        </a:p>
      </dsp:txBody>
      <dsp:txXfrm rot="-5400000">
        <a:off x="7652396" y="1319037"/>
        <a:ext cx="188872" cy="188364"/>
      </dsp:txXfrm>
    </dsp:sp>
    <dsp:sp modelId="{690FBC40-FDDA-4C5F-B2B6-BA82ED89E8AB}">
      <dsp:nvSpPr>
        <dsp:cNvPr id="0" name=""/>
        <dsp:cNvSpPr/>
      </dsp:nvSpPr>
      <dsp:spPr>
        <a:xfrm>
          <a:off x="7112182" y="1715058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Informační Memorandum</a:t>
          </a:r>
        </a:p>
      </dsp:txBody>
      <dsp:txXfrm>
        <a:off x="7134488" y="1737364"/>
        <a:ext cx="1224689" cy="716968"/>
      </dsp:txXfrm>
    </dsp:sp>
    <dsp:sp modelId="{712EC755-27ED-4385-B25F-5FC38AA796EA}">
      <dsp:nvSpPr>
        <dsp:cNvPr id="0" name=""/>
        <dsp:cNvSpPr/>
      </dsp:nvSpPr>
      <dsp:spPr>
        <a:xfrm rot="10800000">
          <a:off x="6731391" y="1938455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kern="1200"/>
        </a:p>
      </dsp:txBody>
      <dsp:txXfrm rot="10800000">
        <a:off x="6812118" y="2001412"/>
        <a:ext cx="188364" cy="188872"/>
      </dsp:txXfrm>
    </dsp:sp>
    <dsp:sp modelId="{F639EC19-084D-49F5-9E58-EB3628B51725}">
      <dsp:nvSpPr>
        <dsp:cNvPr id="0" name=""/>
        <dsp:cNvSpPr/>
      </dsp:nvSpPr>
      <dsp:spPr>
        <a:xfrm>
          <a:off x="5335160" y="1715058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Management </a:t>
          </a:r>
          <a:r>
            <a:rPr lang="cs-CZ" sz="1000" b="1" kern="1200" dirty="0" err="1"/>
            <a:t>Presentations</a:t>
          </a:r>
          <a:endParaRPr lang="cs-CZ" sz="1000" b="1" kern="1200" dirty="0"/>
        </a:p>
      </dsp:txBody>
      <dsp:txXfrm>
        <a:off x="5357466" y="1737364"/>
        <a:ext cx="1224689" cy="716968"/>
      </dsp:txXfrm>
    </dsp:sp>
    <dsp:sp modelId="{80E0436E-71CC-41C1-8D7D-660629542254}">
      <dsp:nvSpPr>
        <dsp:cNvPr id="0" name=""/>
        <dsp:cNvSpPr/>
      </dsp:nvSpPr>
      <dsp:spPr>
        <a:xfrm rot="10800000">
          <a:off x="4954369" y="1938455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kern="1200"/>
        </a:p>
      </dsp:txBody>
      <dsp:txXfrm rot="10800000">
        <a:off x="5035096" y="2001412"/>
        <a:ext cx="188364" cy="188872"/>
      </dsp:txXfrm>
    </dsp:sp>
    <dsp:sp modelId="{A3D97B7B-5134-4984-99E5-28CB9B4EF218}">
      <dsp:nvSpPr>
        <dsp:cNvPr id="0" name=""/>
        <dsp:cNvSpPr/>
      </dsp:nvSpPr>
      <dsp:spPr>
        <a:xfrm>
          <a:off x="3558138" y="1715058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Indikativní (nezávazné) nabídky</a:t>
          </a:r>
        </a:p>
      </dsp:txBody>
      <dsp:txXfrm>
        <a:off x="3580444" y="1737364"/>
        <a:ext cx="1224689" cy="716968"/>
      </dsp:txXfrm>
    </dsp:sp>
    <dsp:sp modelId="{93ED5C7C-D354-4B63-B1A5-98F30573BA3F}">
      <dsp:nvSpPr>
        <dsp:cNvPr id="0" name=""/>
        <dsp:cNvSpPr/>
      </dsp:nvSpPr>
      <dsp:spPr>
        <a:xfrm rot="10800000">
          <a:off x="3177347" y="1938455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kern="1200"/>
        </a:p>
      </dsp:txBody>
      <dsp:txXfrm rot="10800000">
        <a:off x="3258074" y="2001412"/>
        <a:ext cx="188364" cy="188872"/>
      </dsp:txXfrm>
    </dsp:sp>
    <dsp:sp modelId="{DCD2E134-18E4-4A63-985E-935770130ECA}">
      <dsp:nvSpPr>
        <dsp:cNvPr id="0" name=""/>
        <dsp:cNvSpPr/>
      </dsp:nvSpPr>
      <dsp:spPr>
        <a:xfrm>
          <a:off x="1781116" y="1715058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 err="1"/>
            <a:t>Due</a:t>
          </a:r>
          <a:r>
            <a:rPr lang="cs-CZ" sz="1000" b="1" kern="1200" dirty="0"/>
            <a:t> Diligence (Data </a:t>
          </a:r>
          <a:r>
            <a:rPr lang="cs-CZ" sz="1000" b="1" kern="1200" dirty="0" err="1"/>
            <a:t>Room</a:t>
          </a:r>
          <a:r>
            <a:rPr lang="cs-CZ" sz="1000" b="1" kern="1200" dirty="0"/>
            <a:t>)</a:t>
          </a:r>
          <a:endParaRPr lang="cs-CZ" sz="1000" b="0" i="1" kern="1200" dirty="0"/>
        </a:p>
      </dsp:txBody>
      <dsp:txXfrm>
        <a:off x="1803422" y="1737364"/>
        <a:ext cx="1224689" cy="716968"/>
      </dsp:txXfrm>
    </dsp:sp>
    <dsp:sp modelId="{34B32203-6E3D-4FC3-8C20-BA232E1118F8}">
      <dsp:nvSpPr>
        <dsp:cNvPr id="0" name=""/>
        <dsp:cNvSpPr/>
      </dsp:nvSpPr>
      <dsp:spPr>
        <a:xfrm rot="10800000">
          <a:off x="1400326" y="1938455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b="0" kern="1200"/>
        </a:p>
      </dsp:txBody>
      <dsp:txXfrm rot="10800000">
        <a:off x="1481053" y="2001412"/>
        <a:ext cx="188364" cy="188872"/>
      </dsp:txXfrm>
    </dsp:sp>
    <dsp:sp modelId="{3784431B-A1D2-4F51-BAB6-613E7DE2F203}">
      <dsp:nvSpPr>
        <dsp:cNvPr id="0" name=""/>
        <dsp:cNvSpPr/>
      </dsp:nvSpPr>
      <dsp:spPr>
        <a:xfrm>
          <a:off x="4094" y="1715058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Návrh kupní smlouvy (</a:t>
          </a:r>
          <a:r>
            <a:rPr lang="cs-CZ" sz="1000" b="1" kern="1200" dirty="0" err="1"/>
            <a:t>SPA</a:t>
          </a:r>
          <a:r>
            <a:rPr lang="cs-CZ" sz="1000" b="1" kern="1200" dirty="0"/>
            <a:t>) 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- prodávající</a:t>
          </a:r>
          <a:endParaRPr lang="cs-CZ" sz="1000" b="1" i="0" kern="1200" dirty="0"/>
        </a:p>
      </dsp:txBody>
      <dsp:txXfrm>
        <a:off x="26400" y="1737364"/>
        <a:ext cx="1224689" cy="716968"/>
      </dsp:txXfrm>
    </dsp:sp>
    <dsp:sp modelId="{62B8C3F5-D24E-4911-9A28-DC73917E4F97}">
      <dsp:nvSpPr>
        <dsp:cNvPr id="0" name=""/>
        <dsp:cNvSpPr/>
      </dsp:nvSpPr>
      <dsp:spPr>
        <a:xfrm rot="5400000">
          <a:off x="504199" y="2565490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b="0" kern="1200"/>
        </a:p>
      </dsp:txBody>
      <dsp:txXfrm rot="-5400000">
        <a:off x="544309" y="2588338"/>
        <a:ext cx="188872" cy="188364"/>
      </dsp:txXfrm>
    </dsp:sp>
    <dsp:sp modelId="{5F5077B9-6403-4CA3-A211-50F26931E7F4}">
      <dsp:nvSpPr>
        <dsp:cNvPr id="0" name=""/>
        <dsp:cNvSpPr/>
      </dsp:nvSpPr>
      <dsp:spPr>
        <a:xfrm>
          <a:off x="4094" y="2984360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i="0" kern="1200" dirty="0"/>
            <a:t>„závazné“ nabídky zájemce/</a:t>
          </a:r>
          <a:r>
            <a:rPr lang="cs-CZ" sz="1000" b="1" i="0" kern="1200" dirty="0" err="1"/>
            <a:t>ců</a:t>
          </a:r>
          <a:endParaRPr lang="cs-CZ" sz="1000" b="1" kern="1200" dirty="0"/>
        </a:p>
      </dsp:txBody>
      <dsp:txXfrm>
        <a:off x="26400" y="3006666"/>
        <a:ext cx="1224689" cy="716968"/>
      </dsp:txXfrm>
    </dsp:sp>
    <dsp:sp modelId="{2BD63230-0B68-46D0-BFFA-9007776AF906}">
      <dsp:nvSpPr>
        <dsp:cNvPr id="0" name=""/>
        <dsp:cNvSpPr/>
      </dsp:nvSpPr>
      <dsp:spPr>
        <a:xfrm>
          <a:off x="1385094" y="3207757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b="0" kern="1200"/>
        </a:p>
      </dsp:txBody>
      <dsp:txXfrm>
        <a:off x="1385094" y="3270714"/>
        <a:ext cx="188364" cy="188872"/>
      </dsp:txXfrm>
    </dsp:sp>
    <dsp:sp modelId="{30C3B839-ABC7-415C-BDBD-002D29D76B3E}">
      <dsp:nvSpPr>
        <dsp:cNvPr id="0" name=""/>
        <dsp:cNvSpPr/>
      </dsp:nvSpPr>
      <dsp:spPr>
        <a:xfrm>
          <a:off x="1781116" y="2984360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 err="1"/>
            <a:t>Shortlist</a:t>
          </a:r>
          <a:r>
            <a:rPr lang="cs-CZ" sz="1000" b="1" kern="1200" dirty="0"/>
            <a:t> (další kolo nabídek)</a:t>
          </a:r>
        </a:p>
      </dsp:txBody>
      <dsp:txXfrm>
        <a:off x="1803422" y="3006666"/>
        <a:ext cx="1224689" cy="716968"/>
      </dsp:txXfrm>
    </dsp:sp>
    <dsp:sp modelId="{E1AFE8D9-682C-4DBA-96E1-38857C1CB86F}">
      <dsp:nvSpPr>
        <dsp:cNvPr id="0" name=""/>
        <dsp:cNvSpPr/>
      </dsp:nvSpPr>
      <dsp:spPr>
        <a:xfrm>
          <a:off x="3162116" y="3207757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b="0" kern="1200"/>
        </a:p>
      </dsp:txBody>
      <dsp:txXfrm>
        <a:off x="3162116" y="3270714"/>
        <a:ext cx="188364" cy="188872"/>
      </dsp:txXfrm>
    </dsp:sp>
    <dsp:sp modelId="{67F48EE6-9E13-467F-868A-7E25FC77C6D3}">
      <dsp:nvSpPr>
        <dsp:cNvPr id="0" name=""/>
        <dsp:cNvSpPr/>
      </dsp:nvSpPr>
      <dsp:spPr>
        <a:xfrm>
          <a:off x="3558138" y="2984360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Vítězná nabídka</a:t>
          </a:r>
        </a:p>
      </dsp:txBody>
      <dsp:txXfrm>
        <a:off x="3580444" y="3006666"/>
        <a:ext cx="1224689" cy="716968"/>
      </dsp:txXfrm>
    </dsp:sp>
    <dsp:sp modelId="{D77E4194-8596-4B69-A0FF-70ED9CE214D5}">
      <dsp:nvSpPr>
        <dsp:cNvPr id="0" name=""/>
        <dsp:cNvSpPr/>
      </dsp:nvSpPr>
      <dsp:spPr>
        <a:xfrm>
          <a:off x="4939138" y="3207757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kern="1200"/>
        </a:p>
      </dsp:txBody>
      <dsp:txXfrm>
        <a:off x="4939138" y="3270714"/>
        <a:ext cx="188364" cy="188872"/>
      </dsp:txXfrm>
    </dsp:sp>
    <dsp:sp modelId="{F3AB15D3-FABF-4B10-B398-3E5BFB0B7C14}">
      <dsp:nvSpPr>
        <dsp:cNvPr id="0" name=""/>
        <dsp:cNvSpPr/>
      </dsp:nvSpPr>
      <dsp:spPr>
        <a:xfrm>
          <a:off x="5335160" y="2984360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Jednání, dohoda („</a:t>
          </a:r>
          <a:r>
            <a:rPr lang="cs-CZ" sz="1000" b="1" kern="1200" dirty="0" err="1"/>
            <a:t>Agreed</a:t>
          </a:r>
          <a:r>
            <a:rPr lang="cs-CZ" sz="1000" b="1" kern="1200" dirty="0"/>
            <a:t> </a:t>
          </a:r>
          <a:r>
            <a:rPr lang="cs-CZ" sz="1000" b="1" kern="1200" dirty="0" err="1"/>
            <a:t>form</a:t>
          </a:r>
          <a:r>
            <a:rPr lang="cs-CZ" sz="1000" b="1" kern="1200" dirty="0"/>
            <a:t> </a:t>
          </a:r>
          <a:r>
            <a:rPr lang="cs-CZ" sz="1000" b="1" kern="1200" dirty="0" err="1"/>
            <a:t>SPA</a:t>
          </a:r>
          <a:r>
            <a:rPr lang="cs-CZ" sz="1000" b="1" kern="1200" dirty="0"/>
            <a:t>“)</a:t>
          </a:r>
        </a:p>
      </dsp:txBody>
      <dsp:txXfrm>
        <a:off x="5357466" y="3006666"/>
        <a:ext cx="1224689" cy="716968"/>
      </dsp:txXfrm>
    </dsp:sp>
    <dsp:sp modelId="{BCC3FB23-5361-48DA-8D73-5F5B8257D0BC}">
      <dsp:nvSpPr>
        <dsp:cNvPr id="0" name=""/>
        <dsp:cNvSpPr/>
      </dsp:nvSpPr>
      <dsp:spPr>
        <a:xfrm>
          <a:off x="6716160" y="3207757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kern="1200"/>
        </a:p>
      </dsp:txBody>
      <dsp:txXfrm>
        <a:off x="6716160" y="3270714"/>
        <a:ext cx="188364" cy="188872"/>
      </dsp:txXfrm>
    </dsp:sp>
    <dsp:sp modelId="{8E878BC4-8912-4178-9F2E-63BF1ECFFBEA}">
      <dsp:nvSpPr>
        <dsp:cNvPr id="0" name=""/>
        <dsp:cNvSpPr/>
      </dsp:nvSpPr>
      <dsp:spPr>
        <a:xfrm>
          <a:off x="7112182" y="2984360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Podpis (</a:t>
          </a:r>
          <a:r>
            <a:rPr lang="cs-CZ" sz="1000" b="1" kern="1200" dirty="0" err="1"/>
            <a:t>Signing</a:t>
          </a:r>
          <a:r>
            <a:rPr lang="cs-CZ" sz="1000" b="1" kern="1200" dirty="0"/>
            <a:t>)</a:t>
          </a:r>
          <a:endParaRPr lang="cs-CZ" sz="1000" b="0" i="1" kern="1200" dirty="0"/>
        </a:p>
      </dsp:txBody>
      <dsp:txXfrm>
        <a:off x="7134488" y="3006666"/>
        <a:ext cx="1224689" cy="716968"/>
      </dsp:txXfrm>
    </dsp:sp>
    <dsp:sp modelId="{C59C0CB7-149E-4435-B690-0528D8EFBEA5}">
      <dsp:nvSpPr>
        <dsp:cNvPr id="0" name=""/>
        <dsp:cNvSpPr/>
      </dsp:nvSpPr>
      <dsp:spPr>
        <a:xfrm rot="5400000">
          <a:off x="7612286" y="3834792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kern="1200"/>
        </a:p>
      </dsp:txBody>
      <dsp:txXfrm rot="-5400000">
        <a:off x="7652396" y="3857640"/>
        <a:ext cx="188872" cy="188364"/>
      </dsp:txXfrm>
    </dsp:sp>
    <dsp:sp modelId="{943BC048-A90D-4D9E-9821-A85ACAC327CA}">
      <dsp:nvSpPr>
        <dsp:cNvPr id="0" name=""/>
        <dsp:cNvSpPr/>
      </dsp:nvSpPr>
      <dsp:spPr>
        <a:xfrm>
          <a:off x="7112182" y="4253661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i="0" kern="1200" dirty="0"/>
            <a:t>Odkládací podmínky / </a:t>
          </a:r>
          <a:r>
            <a:rPr lang="cs-CZ" sz="1000" b="1" i="0" kern="1200" dirty="0" err="1"/>
            <a:t>CPs</a:t>
          </a:r>
          <a:endParaRPr lang="cs-CZ" sz="1000" b="1" i="0" kern="1200" dirty="0"/>
        </a:p>
      </dsp:txBody>
      <dsp:txXfrm>
        <a:off x="7134488" y="4275967"/>
        <a:ext cx="1224689" cy="716968"/>
      </dsp:txXfrm>
    </dsp:sp>
    <dsp:sp modelId="{62E498A3-2517-45DC-9A8A-B34427D9BB6A}">
      <dsp:nvSpPr>
        <dsp:cNvPr id="0" name=""/>
        <dsp:cNvSpPr/>
      </dsp:nvSpPr>
      <dsp:spPr>
        <a:xfrm rot="10800000">
          <a:off x="6731391" y="4477058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kern="1200"/>
        </a:p>
      </dsp:txBody>
      <dsp:txXfrm rot="10800000">
        <a:off x="6812118" y="4540015"/>
        <a:ext cx="188364" cy="188872"/>
      </dsp:txXfrm>
    </dsp:sp>
    <dsp:sp modelId="{C2AC126E-D58A-4775-9E89-4DDBC214AEC1}">
      <dsp:nvSpPr>
        <dsp:cNvPr id="0" name=""/>
        <dsp:cNvSpPr/>
      </dsp:nvSpPr>
      <dsp:spPr>
        <a:xfrm>
          <a:off x="5335160" y="4253661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i="0" kern="1200" dirty="0"/>
            <a:t>Vypořádání (</a:t>
          </a:r>
          <a:r>
            <a:rPr lang="cs-CZ" sz="1000" b="1" i="0" kern="1200" dirty="0" err="1"/>
            <a:t>Closing</a:t>
          </a:r>
          <a:r>
            <a:rPr lang="cs-CZ" sz="1000" b="1" i="0" kern="1200" dirty="0"/>
            <a:t>)</a:t>
          </a:r>
        </a:p>
      </dsp:txBody>
      <dsp:txXfrm>
        <a:off x="5357466" y="4275967"/>
        <a:ext cx="1224689" cy="716968"/>
      </dsp:txXfrm>
    </dsp:sp>
    <dsp:sp modelId="{65357D0F-DA24-4B22-B866-9C5F45D83539}">
      <dsp:nvSpPr>
        <dsp:cNvPr id="0" name=""/>
        <dsp:cNvSpPr/>
      </dsp:nvSpPr>
      <dsp:spPr>
        <a:xfrm rot="10800000">
          <a:off x="4954369" y="4477058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b="0" kern="1200"/>
        </a:p>
      </dsp:txBody>
      <dsp:txXfrm rot="10800000">
        <a:off x="5035096" y="4540015"/>
        <a:ext cx="188364" cy="188872"/>
      </dsp:txXfrm>
    </dsp:sp>
    <dsp:sp modelId="{D6E5D510-5AE4-40FC-8E5D-C5B3280B3071}">
      <dsp:nvSpPr>
        <dsp:cNvPr id="0" name=""/>
        <dsp:cNvSpPr/>
      </dsp:nvSpPr>
      <dsp:spPr>
        <a:xfrm>
          <a:off x="3558138" y="4253661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i="0" kern="1200" dirty="0"/>
            <a:t>Úpravy ceny / </a:t>
          </a:r>
          <a:r>
            <a:rPr lang="cs-CZ" sz="1000" b="1" i="0" kern="1200" dirty="0" err="1"/>
            <a:t>Closing</a:t>
          </a:r>
          <a:r>
            <a:rPr lang="cs-CZ" sz="1000" b="1" i="0" kern="1200" dirty="0"/>
            <a:t> </a:t>
          </a:r>
          <a:r>
            <a:rPr lang="cs-CZ" sz="1000" b="1" i="0" kern="1200" dirty="0" err="1"/>
            <a:t>Accounts</a:t>
          </a:r>
          <a:endParaRPr lang="cs-CZ" sz="1000" b="1" i="0" kern="1200" dirty="0"/>
        </a:p>
      </dsp:txBody>
      <dsp:txXfrm>
        <a:off x="3580444" y="4275967"/>
        <a:ext cx="1224689" cy="716968"/>
      </dsp:txXfrm>
    </dsp:sp>
    <dsp:sp modelId="{F0D65399-0147-47D5-9455-0DE6DE7AB3D4}">
      <dsp:nvSpPr>
        <dsp:cNvPr id="0" name=""/>
        <dsp:cNvSpPr/>
      </dsp:nvSpPr>
      <dsp:spPr>
        <a:xfrm rot="10800000">
          <a:off x="3177347" y="4477058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b="0" kern="1200"/>
        </a:p>
      </dsp:txBody>
      <dsp:txXfrm rot="10800000">
        <a:off x="3258074" y="4540015"/>
        <a:ext cx="188364" cy="188872"/>
      </dsp:txXfrm>
    </dsp:sp>
    <dsp:sp modelId="{85255D68-460B-43F3-98F6-D967AFF13228}">
      <dsp:nvSpPr>
        <dsp:cNvPr id="0" name=""/>
        <dsp:cNvSpPr/>
      </dsp:nvSpPr>
      <dsp:spPr>
        <a:xfrm>
          <a:off x="1781116" y="4253661"/>
          <a:ext cx="1269301" cy="761580"/>
        </a:xfrm>
        <a:prstGeom prst="roundRect">
          <a:avLst>
            <a:gd name="adj" fmla="val 10000"/>
          </a:avLst>
        </a:prstGeom>
        <a:solidFill>
          <a:srgbClr val="FF0000"/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i="0" kern="1200" dirty="0"/>
            <a:t>Následné podmínky / </a:t>
          </a:r>
          <a:r>
            <a:rPr lang="cs-CZ" sz="1000" b="1" i="0" kern="1200" dirty="0" err="1"/>
            <a:t>CSs</a:t>
          </a:r>
          <a:endParaRPr lang="cs-CZ" sz="1000" b="1" i="0" kern="1200" dirty="0"/>
        </a:p>
      </dsp:txBody>
      <dsp:txXfrm>
        <a:off x="1803422" y="4275967"/>
        <a:ext cx="1224689" cy="71696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2"/>
            <a:ext cx="2945862" cy="495793"/>
          </a:xfrm>
          <a:prstGeom prst="rect">
            <a:avLst/>
          </a:prstGeom>
        </p:spPr>
        <p:txBody>
          <a:bodyPr vert="horz" lIns="90922" tIns="45461" rIns="90922" bIns="45461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293" y="2"/>
            <a:ext cx="2945862" cy="495793"/>
          </a:xfrm>
          <a:prstGeom prst="rect">
            <a:avLst/>
          </a:prstGeom>
        </p:spPr>
        <p:txBody>
          <a:bodyPr vert="horz" lIns="90922" tIns="45461" rIns="90922" bIns="45461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0/4/2023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429308"/>
            <a:ext cx="2945862" cy="495793"/>
          </a:xfrm>
          <a:prstGeom prst="rect">
            <a:avLst/>
          </a:prstGeom>
        </p:spPr>
        <p:txBody>
          <a:bodyPr vert="horz" lIns="90922" tIns="45461" rIns="90922" bIns="45461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3" y="9429308"/>
            <a:ext cx="2945862" cy="495793"/>
          </a:xfrm>
          <a:prstGeom prst="rect">
            <a:avLst/>
          </a:prstGeom>
        </p:spPr>
        <p:txBody>
          <a:bodyPr vert="horz" lIns="90922" tIns="45461" rIns="90922" bIns="45461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5659" cy="496332"/>
          </a:xfrm>
          <a:prstGeom prst="rect">
            <a:avLst/>
          </a:prstGeom>
        </p:spPr>
        <p:txBody>
          <a:bodyPr vert="horz" lIns="98488" tIns="49243" rIns="98488" bIns="49243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6" y="3"/>
            <a:ext cx="2945659" cy="496332"/>
          </a:xfrm>
          <a:prstGeom prst="rect">
            <a:avLst/>
          </a:prstGeom>
        </p:spPr>
        <p:txBody>
          <a:bodyPr vert="horz" lIns="98488" tIns="49243" rIns="98488" bIns="49243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0/4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88" tIns="49243" rIns="98488" bIns="49243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6"/>
            <a:ext cx="5438140" cy="4466988"/>
          </a:xfrm>
          <a:prstGeom prst="rect">
            <a:avLst/>
          </a:prstGeom>
        </p:spPr>
        <p:txBody>
          <a:bodyPr vert="horz" lIns="98488" tIns="49243" rIns="98488" bIns="49243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59" cy="496332"/>
          </a:xfrm>
          <a:prstGeom prst="rect">
            <a:avLst/>
          </a:prstGeom>
        </p:spPr>
        <p:txBody>
          <a:bodyPr vert="horz" lIns="98488" tIns="49243" rIns="98488" bIns="49243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6" y="9428585"/>
            <a:ext cx="2945659" cy="496332"/>
          </a:xfrm>
          <a:prstGeom prst="rect">
            <a:avLst/>
          </a:prstGeom>
        </p:spPr>
        <p:txBody>
          <a:bodyPr vert="horz" lIns="98488" tIns="49243" rIns="98488" bIns="49243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12474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041331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13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76237" y="317500"/>
            <a:ext cx="8391525" cy="3341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81628183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9456824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4DD06410-D99E-4A86-B097-07C46E184CDF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240088" y="1700213"/>
            <a:ext cx="266700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77825" y="1700213"/>
            <a:ext cx="2670175" cy="603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086475" y="1700213"/>
            <a:ext cx="26876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3" y="1851441"/>
            <a:ext cx="265543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5999" y="1851441"/>
            <a:ext cx="267836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053583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76236" y="1700213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76236" y="2899875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76236" y="4099537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76236" y="5299199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2319454" y="2896827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319454" y="1695641"/>
            <a:ext cx="6428546" cy="1084572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319454" y="4096489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2319454" y="5296151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27805900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_long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04F63DE4-3641-4752-8490-8FDEAB763202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77825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972050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7" name="Picture Placeholder 2"/>
          <p:cNvSpPr>
            <a:spLocks noGrp="1" noChangeAspect="1"/>
          </p:cNvSpPr>
          <p:nvPr>
            <p:ph type="pic" sz="quarter" idx="15"/>
          </p:nvPr>
        </p:nvSpPr>
        <p:spPr>
          <a:xfrm>
            <a:off x="4972090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663600" y="1827213"/>
            <a:ext cx="2084400" cy="9694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072964" y="1827213"/>
            <a:ext cx="2085569" cy="9720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76236" y="2957885"/>
            <a:ext cx="3782297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4972090" y="2957885"/>
            <a:ext cx="3775910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50057389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D382B2C1-CF07-48F8-96F5-A9D5F4DF99E1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77825" y="1706563"/>
            <a:ext cx="41227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4668838" y="1700213"/>
            <a:ext cx="4105275" cy="603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77825" y="4065588"/>
            <a:ext cx="41227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668838" y="4065588"/>
            <a:ext cx="4105275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8480987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4FF5BD3C-7CF3-48E9-B568-6AA9175D52D7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9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1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2160104" y="2372140"/>
            <a:ext cx="6590196" cy="4009612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6770300" y="384350"/>
            <a:ext cx="1980000" cy="1855267"/>
          </a:xfrm>
        </p:spPr>
        <p:txBody>
          <a:bodyPr/>
          <a:lstStyle>
            <a:lvl1pPr>
              <a:spcAft>
                <a:spcPts val="0"/>
              </a:spcAft>
              <a:defRPr sz="700"/>
            </a:lvl1pPr>
            <a:lvl2pPr>
              <a:spcAft>
                <a:spcPts val="0"/>
              </a:spcAft>
              <a:defRPr sz="700"/>
            </a:lvl2pPr>
            <a:lvl3pPr>
              <a:spcAft>
                <a:spcPts val="0"/>
              </a:spcAft>
              <a:defRPr sz="700"/>
            </a:lvl3pPr>
            <a:lvl4pPr>
              <a:spcAft>
                <a:spcPts val="0"/>
              </a:spcAft>
              <a:defRPr sz="700"/>
            </a:lvl4pPr>
            <a:lvl5pPr>
              <a:spcAft>
                <a:spcPts val="0"/>
              </a:spcAft>
              <a:defRPr sz="7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77991" y="2372140"/>
            <a:ext cx="1620000" cy="400961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9032127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with side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EF4C58F5-FE9D-4B78-AE8E-5CC193A22FAC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1660525"/>
            <a:ext cx="200501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2197768" y="1665288"/>
            <a:ext cx="6552531" cy="471391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681451677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with side callout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2A8376DF-C6A7-42D7-AEAA-B1C8127831E8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0" y="1660525"/>
            <a:ext cx="200501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  <p:sp>
        <p:nvSpPr>
          <p:cNvPr id="4" name="Picture Placeholder 3"/>
          <p:cNvSpPr>
            <a:spLocks noGrp="1" noChangeAspect="1"/>
          </p:cNvSpPr>
          <p:nvPr>
            <p:ph type="pic" sz="quarter" idx="15"/>
          </p:nvPr>
        </p:nvSpPr>
        <p:spPr>
          <a:xfrm>
            <a:off x="2197768" y="1665288"/>
            <a:ext cx="1440000" cy="864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197768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3734858" y="1665631"/>
            <a:ext cx="1522910" cy="863657"/>
          </a:xfrm>
        </p:spPr>
        <p:txBody>
          <a:bodyPr/>
          <a:lstStyle>
            <a:lvl1pPr>
              <a:defRPr sz="1000" b="1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5688000" y="1659782"/>
            <a:ext cx="1440000" cy="869506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7225760" y="1659782"/>
            <a:ext cx="1522239" cy="869506"/>
          </a:xfrm>
        </p:spPr>
        <p:txBody>
          <a:bodyPr/>
          <a:lstStyle>
            <a:lvl1pPr>
              <a:defRPr sz="1000" b="1"/>
            </a:lvl1pPr>
            <a:lvl2pPr marL="0" indent="0">
              <a:buNone/>
              <a:defRPr sz="10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0"/>
          </p:nvPr>
        </p:nvSpPr>
        <p:spPr>
          <a:xfrm>
            <a:off x="5688000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29924065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307205"/>
            <a:ext cx="6396702" cy="216979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4" name="object 2"/>
          <p:cNvSpPr/>
          <p:nvPr userDrawn="1"/>
        </p:nvSpPr>
        <p:spPr>
          <a:xfrm>
            <a:off x="376239" y="2018187"/>
            <a:ext cx="1632204" cy="75590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48439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rgbClr val="62B5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86E0312C-ADDB-4C5F-A780-D80133C23F91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23361156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01" t="30945" r="12286" b="30614"/>
          <a:stretch>
            <a:fillRect/>
          </a:stretch>
        </p:blipFill>
        <p:spPr bwMode="auto">
          <a:xfrm>
            <a:off x="371475" y="2933700"/>
            <a:ext cx="1804988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307205"/>
            <a:ext cx="6396702" cy="216979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808693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42179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6457450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1836754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ACB8857E-B5DE-40A9-A68C-29428EAA068C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64429964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rgbClr val="62B5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75E58715-D9E3-496D-A9DD-196B92D95BE9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8242625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530FBB61-A025-4BD4-82C1-D5258D1319BC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8822648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F37FC4CC-C1F0-46F7-A2B8-89123006AD73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0542860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rgbClr val="0121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F6B69B0-99E6-45DD-96E0-DDBE529001D0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6331776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5AB07749-9DCC-43C0-BF04-BD894389FA42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06793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rgbClr val="0121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78683FB8-D678-492C-9903-375821350388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7316480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4126427572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12208355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452487815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40200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cs-CZ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753595948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76237" y="317500"/>
            <a:ext cx="8391525" cy="3341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cs-CZ" noProof="0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4159381331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796243163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D66F802C-6AD7-460E-9A1D-F6CA0ED45534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240088" y="1700213"/>
            <a:ext cx="266700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77825" y="1700213"/>
            <a:ext cx="2670175" cy="603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086475" y="1700213"/>
            <a:ext cx="26876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3" y="1851441"/>
            <a:ext cx="265543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5999" y="1851441"/>
            <a:ext cx="267836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4594479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76236" y="1700213"/>
            <a:ext cx="1800000" cy="1080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76236" y="2899875"/>
            <a:ext cx="1800000" cy="1080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76236" y="4099537"/>
            <a:ext cx="1800000" cy="1080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76236" y="5299199"/>
            <a:ext cx="1800000" cy="1080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2319454" y="2896827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319454" y="1695641"/>
            <a:ext cx="6428546" cy="1084572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319454" y="4096489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2319454" y="5296151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854727404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_long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ECA73565-3E9F-424E-A170-1490924916D5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77825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972050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7" name="Picture Placeholder 2"/>
          <p:cNvSpPr>
            <a:spLocks noGrp="1" noChangeAspect="1"/>
          </p:cNvSpPr>
          <p:nvPr>
            <p:ph type="pic" sz="quarter" idx="15"/>
          </p:nvPr>
        </p:nvSpPr>
        <p:spPr>
          <a:xfrm>
            <a:off x="4972090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663600" y="1827213"/>
            <a:ext cx="2084400" cy="9694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072964" y="1827213"/>
            <a:ext cx="2085569" cy="9720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76236" y="2957885"/>
            <a:ext cx="3782297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4972090" y="2957885"/>
            <a:ext cx="3775910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106695154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5EA9870E-37B4-4C56-9679-41857420FC11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77825" y="1706563"/>
            <a:ext cx="41227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4668838" y="1700213"/>
            <a:ext cx="4105275" cy="603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77825" y="4065588"/>
            <a:ext cx="41227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668838" y="4065588"/>
            <a:ext cx="4105275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655400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8E8AC6D5-DA02-4A74-8703-B17830546B51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633034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B5233C9A-67D7-4E39-BED9-7B6977CB528C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9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1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2160104" y="2372140"/>
            <a:ext cx="6590196" cy="4009612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6770300" y="384350"/>
            <a:ext cx="1980000" cy="1855267"/>
          </a:xfrm>
        </p:spPr>
        <p:txBody>
          <a:bodyPr/>
          <a:lstStyle>
            <a:lvl1pPr>
              <a:spcAft>
                <a:spcPts val="0"/>
              </a:spcAft>
              <a:defRPr sz="700"/>
            </a:lvl1pPr>
            <a:lvl2pPr>
              <a:spcAft>
                <a:spcPts val="0"/>
              </a:spcAft>
              <a:defRPr sz="700"/>
            </a:lvl2pPr>
            <a:lvl3pPr>
              <a:spcAft>
                <a:spcPts val="0"/>
              </a:spcAft>
              <a:defRPr sz="700"/>
            </a:lvl3pPr>
            <a:lvl4pPr>
              <a:spcAft>
                <a:spcPts val="0"/>
              </a:spcAft>
              <a:defRPr sz="700"/>
            </a:lvl4pPr>
            <a:lvl5pPr>
              <a:spcAft>
                <a:spcPts val="0"/>
              </a:spcAft>
              <a:defRPr sz="7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77991" y="2372140"/>
            <a:ext cx="1620000" cy="400961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2118924520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with side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AD28D66E-E672-4A08-B157-E854CEA7EB48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1660525"/>
            <a:ext cx="200501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2197768" y="1665288"/>
            <a:ext cx="6552531" cy="471391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1012010136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with side callout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0B253530-60DA-4BBA-9AF7-92273194C34E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0" y="1660525"/>
            <a:ext cx="200501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4" name="Picture Placeholder 3"/>
          <p:cNvSpPr>
            <a:spLocks noGrp="1" noChangeAspect="1"/>
          </p:cNvSpPr>
          <p:nvPr>
            <p:ph type="pic" sz="quarter" idx="15"/>
          </p:nvPr>
        </p:nvSpPr>
        <p:spPr>
          <a:xfrm>
            <a:off x="2197768" y="1665288"/>
            <a:ext cx="1440000" cy="864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197768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3734858" y="1665631"/>
            <a:ext cx="1522910" cy="863657"/>
          </a:xfrm>
        </p:spPr>
        <p:txBody>
          <a:bodyPr/>
          <a:lstStyle>
            <a:lvl1pPr>
              <a:defRPr sz="1000" b="1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5688000" y="1659782"/>
            <a:ext cx="1440000" cy="869506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7225760" y="1659782"/>
            <a:ext cx="1522239" cy="869506"/>
          </a:xfrm>
        </p:spPr>
        <p:txBody>
          <a:bodyPr/>
          <a:lstStyle>
            <a:lvl1pPr>
              <a:defRPr sz="1000" b="1"/>
            </a:lvl1pPr>
            <a:lvl2pPr marL="0" indent="0">
              <a:buNone/>
              <a:defRPr sz="100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0"/>
          </p:nvPr>
        </p:nvSpPr>
        <p:spPr>
          <a:xfrm>
            <a:off x="5688000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1482617927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92" t="30281" r="12016" b="29289"/>
          <a:stretch>
            <a:fillRect/>
          </a:stretch>
        </p:blipFill>
        <p:spPr bwMode="auto">
          <a:xfrm>
            <a:off x="371475" y="3124200"/>
            <a:ext cx="1722438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307205"/>
            <a:ext cx="6396702" cy="216979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599409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01" t="30945" r="12286" b="30614"/>
          <a:stretch>
            <a:fillRect/>
          </a:stretch>
        </p:blipFill>
        <p:spPr bwMode="auto">
          <a:xfrm>
            <a:off x="371475" y="3124200"/>
            <a:ext cx="1804988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307205"/>
            <a:ext cx="6396702" cy="216979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430574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53171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988658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133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0017433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B8233B8-9FA3-4E81-8B20-DB786CF8072C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070883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rgbClr val="62B5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86E0312C-ADDB-4C5F-A780-D80133C23F91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5841950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31141326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EDBD2319-F4B2-4189-A449-4EF0403C7B27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5744543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D426EE9F-C07A-4365-885C-EC11BE0B5723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4366012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rgbClr val="0121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78683FB8-D678-492C-9903-375821350388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25234950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8E8AC6D5-DA02-4A74-8703-B17830546B51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723283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82461291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87294192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87895023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40200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25172689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76237" y="317500"/>
            <a:ext cx="8391525" cy="3341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96107636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33171056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:1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bg1"/>
                </a:solidFill>
                <a:latin typeface="+mn-lt"/>
              </a:rPr>
              <a:t>Akvizice společností</a:t>
            </a:r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97780605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4DD06410-D99E-4A86-B097-07C46E184CDF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240088" y="1706563"/>
            <a:ext cx="266700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77825" y="1700213"/>
            <a:ext cx="2670175" cy="603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086475" y="1706563"/>
            <a:ext cx="26876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3" y="1851441"/>
            <a:ext cx="265543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5999" y="1851441"/>
            <a:ext cx="267836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3530516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76236" y="1700213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76236" y="2899875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76236" y="4099537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76236" y="5299199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2319454" y="2896827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319454" y="1695641"/>
            <a:ext cx="6428546" cy="1084572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319454" y="4096489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2319454" y="5296151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2925598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_long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04F63DE4-3641-4752-8490-8FDEAB763202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77825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4972050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7" name="Picture Placeholder 2"/>
          <p:cNvSpPr>
            <a:spLocks noGrp="1" noChangeAspect="1"/>
          </p:cNvSpPr>
          <p:nvPr>
            <p:ph type="pic" sz="quarter" idx="15"/>
          </p:nvPr>
        </p:nvSpPr>
        <p:spPr>
          <a:xfrm>
            <a:off x="4972090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Click icon to add picture</a:t>
            </a:r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624000" y="1827213"/>
            <a:ext cx="2124000" cy="969448"/>
          </a:xfrm>
        </p:spPr>
        <p:txBody>
          <a:bodyPr/>
          <a:lstStyle>
            <a:lvl1pPr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034533" y="1827213"/>
            <a:ext cx="2124000" cy="972000"/>
          </a:xfrm>
        </p:spPr>
        <p:txBody>
          <a:bodyPr/>
          <a:lstStyle>
            <a:lvl1pPr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76236" y="2957885"/>
            <a:ext cx="3782297" cy="3421314"/>
          </a:xfrm>
        </p:spPr>
        <p:txBody>
          <a:bodyPr/>
          <a:lstStyle>
            <a:lvl1pPr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spcAft>
                <a:spcPts val="0"/>
              </a:spcAft>
              <a:defRPr sz="1000"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4972090" y="2957885"/>
            <a:ext cx="3775910" cy="3421314"/>
          </a:xfrm>
        </p:spPr>
        <p:txBody>
          <a:bodyPr/>
          <a:lstStyle>
            <a:lvl1pPr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spcAft>
                <a:spcPts val="0"/>
              </a:spcAft>
              <a:defRPr sz="1000"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72088324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_1_Contacts_long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04F63DE4-3641-4752-8490-8FDEAB763202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77825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034533" y="1827213"/>
            <a:ext cx="2124000" cy="972000"/>
          </a:xfrm>
        </p:spPr>
        <p:txBody>
          <a:bodyPr/>
          <a:lstStyle>
            <a:lvl1pPr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76236" y="2957885"/>
            <a:ext cx="3782297" cy="3421314"/>
          </a:xfrm>
        </p:spPr>
        <p:txBody>
          <a:bodyPr/>
          <a:lstStyle>
            <a:lvl1pPr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spcAft>
                <a:spcPts val="0"/>
              </a:spcAft>
              <a:defRPr sz="100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68520781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D382B2C1-CF07-48F8-96F5-A9D5F4DF99E1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77825" y="4065588"/>
            <a:ext cx="378000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971888" y="4028809"/>
            <a:ext cx="378000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34000" y="1827213"/>
            <a:ext cx="2145051" cy="1944000"/>
          </a:xfrm>
        </p:spPr>
        <p:txBody>
          <a:bodyPr/>
          <a:lstStyle>
            <a:lvl1pPr>
              <a:spcAft>
                <a:spcPts val="0"/>
              </a:spcAft>
              <a:defRPr sz="1000" b="0"/>
            </a:lvl1pPr>
            <a:lvl2pPr>
              <a:spcAft>
                <a:spcPts val="0"/>
              </a:spcAft>
              <a:defRPr sz="1000"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624000" y="1827213"/>
            <a:ext cx="2145600" cy="1944000"/>
          </a:xfrm>
        </p:spPr>
        <p:txBody>
          <a:bodyPr/>
          <a:lstStyle>
            <a:lvl1pPr>
              <a:spcAft>
                <a:spcPts val="0"/>
              </a:spcAft>
              <a:defRPr sz="1000" b="0"/>
            </a:lvl1pPr>
            <a:lvl2pPr>
              <a:spcAft>
                <a:spcPts val="0"/>
              </a:spcAft>
              <a:defRPr sz="1000"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29704" y="4256213"/>
            <a:ext cx="2145051" cy="1944000"/>
          </a:xfrm>
        </p:spPr>
        <p:txBody>
          <a:bodyPr/>
          <a:lstStyle>
            <a:lvl1pPr>
              <a:spcAft>
                <a:spcPts val="0"/>
              </a:spcAft>
              <a:defRPr sz="1000" b="0"/>
            </a:lvl1pPr>
            <a:lvl2pPr>
              <a:spcAft>
                <a:spcPts val="0"/>
              </a:spcAft>
              <a:defRPr sz="1000"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628764" y="4256213"/>
            <a:ext cx="2145600" cy="1944000"/>
          </a:xfrm>
        </p:spPr>
        <p:txBody>
          <a:bodyPr/>
          <a:lstStyle>
            <a:lvl1pPr>
              <a:spcAft>
                <a:spcPts val="0"/>
              </a:spcAft>
              <a:defRPr sz="1000" b="0"/>
            </a:lvl1pPr>
            <a:lvl2pPr>
              <a:spcAft>
                <a:spcPts val="0"/>
              </a:spcAft>
              <a:defRPr sz="1000"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377825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sz="quarter" idx="15"/>
          </p:nvPr>
        </p:nvSpPr>
        <p:spPr>
          <a:xfrm>
            <a:off x="4972090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32" name="Picture Placeholder 2"/>
          <p:cNvSpPr>
            <a:spLocks noGrp="1" noChangeAspect="1"/>
          </p:cNvSpPr>
          <p:nvPr>
            <p:ph type="pic" sz="quarter" idx="36"/>
          </p:nvPr>
        </p:nvSpPr>
        <p:spPr>
          <a:xfrm>
            <a:off x="376236" y="4256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33" name="Picture Placeholder 2"/>
          <p:cNvSpPr>
            <a:spLocks noGrp="1" noChangeAspect="1"/>
          </p:cNvSpPr>
          <p:nvPr>
            <p:ph type="pic" sz="quarter" idx="37"/>
          </p:nvPr>
        </p:nvSpPr>
        <p:spPr>
          <a:xfrm>
            <a:off x="4972090" y="4256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34" name="Rectangle 33"/>
          <p:cNvSpPr/>
          <p:nvPr userDrawn="1"/>
        </p:nvSpPr>
        <p:spPr>
          <a:xfrm>
            <a:off x="4972050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6668125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4FF5BD3C-7CF3-48E9-B568-6AA9175D52D7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9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1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2160104" y="2372140"/>
            <a:ext cx="6590196" cy="4009612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6770300" y="384350"/>
            <a:ext cx="1980000" cy="1855267"/>
          </a:xfrm>
        </p:spPr>
        <p:txBody>
          <a:bodyPr/>
          <a:lstStyle>
            <a:lvl1pPr>
              <a:spcAft>
                <a:spcPts val="0"/>
              </a:spcAft>
              <a:defRPr sz="700"/>
            </a:lvl1pPr>
            <a:lvl2pPr>
              <a:spcAft>
                <a:spcPts val="0"/>
              </a:spcAft>
              <a:defRPr sz="700"/>
            </a:lvl2pPr>
            <a:lvl3pPr>
              <a:spcAft>
                <a:spcPts val="0"/>
              </a:spcAft>
              <a:defRPr sz="700"/>
            </a:lvl3pPr>
            <a:lvl4pPr>
              <a:spcAft>
                <a:spcPts val="0"/>
              </a:spcAft>
              <a:defRPr sz="700"/>
            </a:lvl4pPr>
            <a:lvl5pPr>
              <a:spcAft>
                <a:spcPts val="0"/>
              </a:spcAft>
              <a:defRPr sz="7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77991" y="2372140"/>
            <a:ext cx="1620000" cy="400961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03060316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with side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EF4C58F5-FE9D-4B78-AE8E-5CC193A22FAC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1660525"/>
            <a:ext cx="200501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2197768" y="1665288"/>
            <a:ext cx="6552531" cy="471391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539646457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with side callout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2A8376DF-C6A7-42D7-AEAA-B1C8127831E8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0" y="1660525"/>
            <a:ext cx="200501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  <p:sp>
        <p:nvSpPr>
          <p:cNvPr id="4" name="Picture Placeholder 3"/>
          <p:cNvSpPr>
            <a:spLocks noGrp="1" noChangeAspect="1"/>
          </p:cNvSpPr>
          <p:nvPr>
            <p:ph type="pic" sz="quarter" idx="15"/>
          </p:nvPr>
        </p:nvSpPr>
        <p:spPr>
          <a:xfrm>
            <a:off x="2197768" y="1665288"/>
            <a:ext cx="1440000" cy="864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197768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3734858" y="1665631"/>
            <a:ext cx="1522910" cy="863657"/>
          </a:xfrm>
        </p:spPr>
        <p:txBody>
          <a:bodyPr/>
          <a:lstStyle>
            <a:lvl1pPr>
              <a:defRPr sz="1000" b="1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5688000" y="1659782"/>
            <a:ext cx="1440000" cy="869506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7225760" y="1659782"/>
            <a:ext cx="1522239" cy="869506"/>
          </a:xfrm>
        </p:spPr>
        <p:txBody>
          <a:bodyPr/>
          <a:lstStyle>
            <a:lvl1pPr>
              <a:defRPr sz="1000" b="1"/>
            </a:lvl1pPr>
            <a:lvl2pPr marL="0" indent="0">
              <a:buNone/>
              <a:defRPr sz="10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0"/>
          </p:nvPr>
        </p:nvSpPr>
        <p:spPr>
          <a:xfrm>
            <a:off x="5688000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34063922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92" t="30281" r="12016" b="29289"/>
          <a:stretch>
            <a:fillRect/>
          </a:stretch>
        </p:blipFill>
        <p:spPr bwMode="auto">
          <a:xfrm>
            <a:off x="371475" y="2933700"/>
            <a:ext cx="1722438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307205"/>
            <a:ext cx="6396702" cy="216979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082746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01" t="30945" r="12286" b="30614"/>
          <a:stretch>
            <a:fillRect/>
          </a:stretch>
        </p:blipFill>
        <p:spPr bwMode="auto">
          <a:xfrm>
            <a:off x="371475" y="2933700"/>
            <a:ext cx="1804988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307205"/>
            <a:ext cx="6396702" cy="216979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36847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18899860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1564969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40200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2904249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tags" Target="../tags/tag10.xml"/><Relationship Id="rId3" Type="http://schemas.openxmlformats.org/officeDocument/2006/relationships/slideLayout" Target="../slideLayouts/slideLayout23.xml"/><Relationship Id="rId21" Type="http://schemas.openxmlformats.org/officeDocument/2006/relationships/slideLayout" Target="../slideLayouts/slideLayout41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slideLayout" Target="../slideLayouts/slideLayout44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slideLayout" Target="../slideLayouts/slideLayout4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slideLayout" Target="../slideLayouts/slideLayout42.xml"/><Relationship Id="rId27" Type="http://schemas.openxmlformats.org/officeDocument/2006/relationships/oleObject" Target="../embeddings/oleObject9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18" Type="http://schemas.openxmlformats.org/officeDocument/2006/relationships/slideLayout" Target="../slideLayouts/slideLayout62.xml"/><Relationship Id="rId26" Type="http://schemas.openxmlformats.org/officeDocument/2006/relationships/theme" Target="../theme/theme3.xml"/><Relationship Id="rId3" Type="http://schemas.openxmlformats.org/officeDocument/2006/relationships/slideLayout" Target="../slideLayouts/slideLayout47.xml"/><Relationship Id="rId21" Type="http://schemas.openxmlformats.org/officeDocument/2006/relationships/slideLayout" Target="../slideLayouts/slideLayout65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61.xml"/><Relationship Id="rId25" Type="http://schemas.openxmlformats.org/officeDocument/2006/relationships/slideLayout" Target="../slideLayouts/slideLayout69.xml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20" Type="http://schemas.openxmlformats.org/officeDocument/2006/relationships/slideLayout" Target="../slideLayouts/slideLayout64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24" Type="http://schemas.openxmlformats.org/officeDocument/2006/relationships/slideLayout" Target="../slideLayouts/slideLayout68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23" Type="http://schemas.openxmlformats.org/officeDocument/2006/relationships/slideLayout" Target="../slideLayouts/slideLayout67.xml"/><Relationship Id="rId28" Type="http://schemas.openxmlformats.org/officeDocument/2006/relationships/oleObject" Target="../embeddings/oleObject18.bin"/><Relationship Id="rId10" Type="http://schemas.openxmlformats.org/officeDocument/2006/relationships/slideLayout" Target="../slideLayouts/slideLayout54.xml"/><Relationship Id="rId19" Type="http://schemas.openxmlformats.org/officeDocument/2006/relationships/slideLayout" Target="../slideLayouts/slideLayout63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Relationship Id="rId22" Type="http://schemas.openxmlformats.org/officeDocument/2006/relationships/slideLayout" Target="../slideLayouts/slideLayout66.xml"/><Relationship Id="rId27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" hidden="1"/>
          <p:cNvGraphicFramePr>
            <a:graphicFrameLocks noChangeAspect="1"/>
          </p:cNvGraphicFramePr>
          <p:nvPr>
            <p:custDataLst>
              <p:tags r:id="rId2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60" imgH="360" progId="TCLayout.ActiveDocument.1">
                  <p:embed/>
                </p:oleObj>
              </mc:Choice>
              <mc:Fallback>
                <p:oleObj name="think-cell Slide" r:id="rId23" imgW="360" imgH="360" progId="TCLayout.ActiveDocument.1">
                  <p:embed/>
                  <p:pic>
                    <p:nvPicPr>
                      <p:cNvPr id="102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0"/>
            <a:ext cx="8391525" cy="6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cs-CZ"/>
              <a:t>Click to edit Master title style</a:t>
            </a:r>
          </a:p>
        </p:txBody>
      </p:sp>
      <p:sp>
        <p:nvSpPr>
          <p:cNvPr id="1030" name="Text Placeholder 18"/>
          <p:cNvSpPr>
            <a:spLocks noGrp="1"/>
          </p:cNvSpPr>
          <p:nvPr>
            <p:ph type="body" idx="1"/>
          </p:nvPr>
        </p:nvSpPr>
        <p:spPr bwMode="auto">
          <a:xfrm>
            <a:off x="376238" y="1665288"/>
            <a:ext cx="8391525" cy="4716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cs-CZ" dirty="0"/>
              <a:t>Edit Master text styles</a:t>
            </a:r>
          </a:p>
          <a:p>
            <a:pPr lvl="1"/>
            <a:r>
              <a:rPr lang="en-US" altLang="cs-CZ" dirty="0"/>
              <a:t>Second level</a:t>
            </a:r>
          </a:p>
          <a:p>
            <a:pPr lvl="2"/>
            <a:r>
              <a:rPr lang="en-US" altLang="cs-CZ" dirty="0"/>
              <a:t>Third level</a:t>
            </a:r>
          </a:p>
          <a:p>
            <a:pPr lvl="3"/>
            <a:r>
              <a:rPr lang="en-US" altLang="cs-CZ" dirty="0"/>
              <a:t>Fourth level</a:t>
            </a:r>
          </a:p>
          <a:p>
            <a:pPr lvl="4"/>
            <a:r>
              <a:rPr lang="en-US" altLang="cs-CZ" dirty="0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78CA4D8-A0FA-4697-BFFD-797AF4E823FC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218194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3" r:id="rId2"/>
    <p:sldLayoutId id="2147483796" r:id="rId3"/>
    <p:sldLayoutId id="2147483797" r:id="rId4"/>
    <p:sldLayoutId id="2147483798" r:id="rId5"/>
    <p:sldLayoutId id="2147483864" r:id="rId6"/>
    <p:sldLayoutId id="2147483799" r:id="rId7"/>
    <p:sldLayoutId id="2147483800" r:id="rId8"/>
    <p:sldLayoutId id="2147483801" r:id="rId9"/>
    <p:sldLayoutId id="2147483802" r:id="rId10"/>
    <p:sldLayoutId id="2147483803" r:id="rId11"/>
    <p:sldLayoutId id="2147483804" r:id="rId12"/>
    <p:sldLayoutId id="2147483805" r:id="rId13"/>
    <p:sldLayoutId id="2147483806" r:id="rId14"/>
    <p:sldLayoutId id="2147483807" r:id="rId15"/>
    <p:sldLayoutId id="2147483808" r:id="rId16"/>
    <p:sldLayoutId id="2147483809" r:id="rId17"/>
    <p:sldLayoutId id="2147483810" r:id="rId18"/>
    <p:sldLayoutId id="2147483811" r:id="rId19"/>
    <p:sldLayoutId id="2147483812" r:id="rId20"/>
  </p:sldLayoutIdLst>
  <p:transition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9pPr>
    </p:titleStyle>
    <p:bodyStyle>
      <a:lvl1pPr algn="l" rtl="0" eaLnBrk="1" fontAlgn="base" hangingPunct="1">
        <a:spcBef>
          <a:spcPct val="0"/>
        </a:spcBef>
        <a:spcAft>
          <a:spcPts val="1000"/>
        </a:spcAft>
        <a:buSzPct val="100000"/>
        <a:buFont typeface="Arial" panose="020B0604020202020204" pitchFamily="34" charset="0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ct val="0"/>
        </a:spcBef>
        <a:spcAft>
          <a:spcPts val="1000"/>
        </a:spcAft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44488" indent="-180000" algn="l" rtl="0" eaLnBrk="1" fontAlgn="base" hangingPunct="1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17525" indent="-180000" algn="l" rtl="0" eaLnBrk="1" fontAlgn="base" hangingPunct="1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90563" indent="-180000" algn="l" defTabSz="798513" rtl="0" eaLnBrk="1" fontAlgn="base" hangingPunct="1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3" hidden="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360" imgH="360" progId="TCLayout.ActiveDocument.1">
                  <p:embed/>
                </p:oleObj>
              </mc:Choice>
              <mc:Fallback>
                <p:oleObj name="think-cell Slide" r:id="rId27" imgW="360" imgH="360" progId="TCLayout.ActiveDocument.1">
                  <p:embed/>
                  <p:pic>
                    <p:nvPicPr>
                      <p:cNvPr id="205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0"/>
            <a:ext cx="8391525" cy="6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altLang="cs-CZ"/>
              <a:t>Click to edit Master title style</a:t>
            </a:r>
          </a:p>
        </p:txBody>
      </p:sp>
      <p:sp>
        <p:nvSpPr>
          <p:cNvPr id="2054" name="Text Placeholder 18"/>
          <p:cNvSpPr>
            <a:spLocks noGrp="1"/>
          </p:cNvSpPr>
          <p:nvPr>
            <p:ph type="body" idx="1"/>
          </p:nvPr>
        </p:nvSpPr>
        <p:spPr bwMode="auto">
          <a:xfrm>
            <a:off x="376238" y="1665288"/>
            <a:ext cx="8391525" cy="4716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altLang="cs-CZ" dirty="0" err="1"/>
              <a:t>Click</a:t>
            </a:r>
            <a:r>
              <a:rPr lang="cs-CZ" altLang="cs-CZ" dirty="0"/>
              <a:t> to </a:t>
            </a:r>
            <a:r>
              <a:rPr lang="cs-CZ" altLang="cs-CZ" dirty="0" err="1"/>
              <a:t>edit</a:t>
            </a:r>
            <a:r>
              <a:rPr lang="cs-CZ" altLang="cs-CZ" dirty="0"/>
              <a:t> Master text </a:t>
            </a:r>
            <a:r>
              <a:rPr lang="cs-CZ" altLang="cs-CZ" dirty="0" err="1"/>
              <a:t>styles</a:t>
            </a:r>
            <a:endParaRPr lang="cs-CZ" altLang="cs-CZ" dirty="0"/>
          </a:p>
          <a:p>
            <a:pPr lvl="1"/>
            <a:r>
              <a:rPr lang="cs-CZ" altLang="cs-CZ" dirty="0"/>
              <a:t>Second </a:t>
            </a:r>
            <a:r>
              <a:rPr lang="cs-CZ" altLang="cs-CZ" dirty="0" err="1"/>
              <a:t>level</a:t>
            </a:r>
            <a:endParaRPr lang="cs-CZ" altLang="cs-CZ" dirty="0"/>
          </a:p>
          <a:p>
            <a:pPr lvl="2"/>
            <a:r>
              <a:rPr lang="cs-CZ" altLang="cs-CZ" dirty="0" err="1"/>
              <a:t>Third</a:t>
            </a:r>
            <a:r>
              <a:rPr lang="cs-CZ" altLang="cs-CZ" dirty="0"/>
              <a:t> </a:t>
            </a:r>
            <a:r>
              <a:rPr lang="cs-CZ" altLang="cs-CZ" dirty="0" err="1"/>
              <a:t>level</a:t>
            </a:r>
            <a:endParaRPr lang="cs-CZ" altLang="cs-CZ" dirty="0"/>
          </a:p>
          <a:p>
            <a:pPr lvl="3"/>
            <a:r>
              <a:rPr lang="cs-CZ" altLang="cs-CZ" dirty="0" err="1"/>
              <a:t>Fourth</a:t>
            </a:r>
            <a:r>
              <a:rPr lang="cs-CZ" altLang="cs-CZ" dirty="0"/>
              <a:t> </a:t>
            </a:r>
            <a:r>
              <a:rPr lang="cs-CZ" altLang="cs-CZ" dirty="0" err="1"/>
              <a:t>level</a:t>
            </a:r>
            <a:endParaRPr lang="cs-CZ" altLang="cs-CZ" dirty="0"/>
          </a:p>
          <a:p>
            <a:pPr lvl="4"/>
            <a:r>
              <a:rPr lang="cs-CZ" altLang="cs-CZ" dirty="0" err="1"/>
              <a:t>Fifth</a:t>
            </a:r>
            <a:r>
              <a:rPr lang="cs-CZ" altLang="cs-CZ" dirty="0"/>
              <a:t> </a:t>
            </a:r>
            <a:r>
              <a:rPr lang="cs-CZ" altLang="cs-CZ" dirty="0" err="1"/>
              <a:t>level</a:t>
            </a:r>
            <a:endParaRPr lang="cs-CZ" altLang="cs-CZ" dirty="0"/>
          </a:p>
        </p:txBody>
      </p:sp>
      <p:sp>
        <p:nvSpPr>
          <p:cNvPr id="3" name="TextBox 2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A57F65DA-840F-4037-A34E-8CB3E2C9A8DF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69980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2" r:id="rId9"/>
    <p:sldLayoutId id="2147483823" r:id="rId10"/>
    <p:sldLayoutId id="2147483824" r:id="rId11"/>
    <p:sldLayoutId id="2147483825" r:id="rId12"/>
    <p:sldLayoutId id="2147483826" r:id="rId13"/>
    <p:sldLayoutId id="2147483827" r:id="rId14"/>
    <p:sldLayoutId id="2147483828" r:id="rId15"/>
    <p:sldLayoutId id="2147483829" r:id="rId16"/>
    <p:sldLayoutId id="2147483830" r:id="rId17"/>
    <p:sldLayoutId id="2147483831" r:id="rId18"/>
    <p:sldLayoutId id="2147483832" r:id="rId19"/>
    <p:sldLayoutId id="2147483833" r:id="rId20"/>
    <p:sldLayoutId id="2147483834" r:id="rId21"/>
    <p:sldLayoutId id="2147483835" r:id="rId22"/>
    <p:sldLayoutId id="2147483836" r:id="rId23"/>
    <p:sldLayoutId id="2147483837" r:id="rId24"/>
  </p:sldLayoutIdLst>
  <p:transition>
    <p:fade/>
  </p:transition>
  <p:hf hdr="0" dt="0"/>
  <p:txStyles>
    <p:titleStyle>
      <a:lvl1pPr algn="l" rtl="0" fontAlgn="base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9pPr>
    </p:titleStyle>
    <p:bodyStyle>
      <a:lvl1pPr algn="l" rtl="0" fontAlgn="base">
        <a:spcBef>
          <a:spcPct val="0"/>
        </a:spcBef>
        <a:spcAft>
          <a:spcPts val="1000"/>
        </a:spcAft>
        <a:buSzPct val="100000"/>
        <a:buFont typeface="Arial" panose="020B0604020202020204" pitchFamily="34" charset="0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fontAlgn="base">
        <a:spcBef>
          <a:spcPct val="0"/>
        </a:spcBef>
        <a:spcAft>
          <a:spcPts val="1000"/>
        </a:spcAft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44488" indent="-180000" algn="l" rtl="0" fontAlgn="base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17525" indent="-180000" algn="l" rtl="0" fontAlgn="base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90563" indent="-180000" algn="l" defTabSz="798513" rtl="0" fontAlgn="base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" hidden="1"/>
          <p:cNvGraphicFramePr>
            <a:graphicFrameLocks noChangeAspect="1"/>
          </p:cNvGraphicFramePr>
          <p:nvPr>
            <p:custDataLst>
              <p:tags r:id="rId2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60" imgH="360" progId="TCLayout.ActiveDocument.1">
                  <p:embed/>
                </p:oleObj>
              </mc:Choice>
              <mc:Fallback>
                <p:oleObj name="think-cell Slide" r:id="rId28" imgW="360" imgH="360" progId="TCLayout.ActiveDocument.1">
                  <p:embed/>
                  <p:pic>
                    <p:nvPicPr>
                      <p:cNvPr id="102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0"/>
            <a:ext cx="8391525" cy="6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cs-CZ"/>
              <a:t>Click to edit Master title style</a:t>
            </a:r>
          </a:p>
        </p:txBody>
      </p:sp>
      <p:sp>
        <p:nvSpPr>
          <p:cNvPr id="1030" name="Text Placeholder 18"/>
          <p:cNvSpPr>
            <a:spLocks noGrp="1"/>
          </p:cNvSpPr>
          <p:nvPr>
            <p:ph type="body" idx="1"/>
          </p:nvPr>
        </p:nvSpPr>
        <p:spPr bwMode="auto">
          <a:xfrm>
            <a:off x="376238" y="1665288"/>
            <a:ext cx="8391525" cy="4716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cs-CZ"/>
              <a:t>Edit Master text styles</a:t>
            </a:r>
          </a:p>
          <a:p>
            <a:pPr lvl="1"/>
            <a:r>
              <a:rPr lang="en-US" altLang="cs-CZ"/>
              <a:t>Second level</a:t>
            </a:r>
          </a:p>
          <a:p>
            <a:pPr lvl="2"/>
            <a:r>
              <a:rPr lang="en-US" altLang="cs-CZ"/>
              <a:t>Third level</a:t>
            </a:r>
          </a:p>
          <a:p>
            <a:pPr lvl="3"/>
            <a:r>
              <a:rPr lang="en-US" altLang="cs-CZ"/>
              <a:t>Fourth level</a:t>
            </a:r>
          </a:p>
          <a:p>
            <a:pPr lvl="4"/>
            <a:r>
              <a:rPr lang="en-US" altLang="cs-CZ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78CA4D8-A0FA-4697-BFFD-797AF4E823FC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401991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40" r:id="rId2"/>
    <p:sldLayoutId id="2147483841" r:id="rId3"/>
    <p:sldLayoutId id="2147483842" r:id="rId4"/>
    <p:sldLayoutId id="2147483843" r:id="rId5"/>
    <p:sldLayoutId id="2147483844" r:id="rId6"/>
    <p:sldLayoutId id="2147483845" r:id="rId7"/>
    <p:sldLayoutId id="2147483846" r:id="rId8"/>
    <p:sldLayoutId id="2147483847" r:id="rId9"/>
    <p:sldLayoutId id="2147483848" r:id="rId10"/>
    <p:sldLayoutId id="2147483849" r:id="rId11"/>
    <p:sldLayoutId id="2147483850" r:id="rId12"/>
    <p:sldLayoutId id="2147483851" r:id="rId13"/>
    <p:sldLayoutId id="2147483852" r:id="rId14"/>
    <p:sldLayoutId id="2147483853" r:id="rId15"/>
    <p:sldLayoutId id="2147483854" r:id="rId16"/>
    <p:sldLayoutId id="2147483855" r:id="rId17"/>
    <p:sldLayoutId id="2147483856" r:id="rId18"/>
    <p:sldLayoutId id="2147483857" r:id="rId19"/>
    <p:sldLayoutId id="2147483858" r:id="rId20"/>
    <p:sldLayoutId id="2147483859" r:id="rId21"/>
    <p:sldLayoutId id="2147483860" r:id="rId22"/>
    <p:sldLayoutId id="2147483861" r:id="rId23"/>
    <p:sldLayoutId id="2147483862" r:id="rId24"/>
    <p:sldLayoutId id="2147483863" r:id="rId25"/>
  </p:sldLayoutIdLst>
  <p:transition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9pPr>
    </p:titleStyle>
    <p:bodyStyle>
      <a:lvl1pPr algn="l" rtl="0" eaLnBrk="1" fontAlgn="base" hangingPunct="1">
        <a:spcBef>
          <a:spcPct val="0"/>
        </a:spcBef>
        <a:spcAft>
          <a:spcPts val="1000"/>
        </a:spcAft>
        <a:buSzPct val="100000"/>
        <a:buFont typeface="Arial" panose="020B0604020202020204" pitchFamily="34" charset="0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indent="-171450" algn="l" rtl="0" eaLnBrk="1" fontAlgn="base" hangingPunct="1">
        <a:spcBef>
          <a:spcPct val="0"/>
        </a:spcBef>
        <a:spcAft>
          <a:spcPts val="1000"/>
        </a:spcAft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44488" indent="-171450" algn="l" rtl="0" eaLnBrk="1" fontAlgn="base" hangingPunct="1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17525" indent="-171450" algn="l" rtl="0" eaLnBrk="1" fontAlgn="base" hangingPunct="1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90563" indent="-171450" algn="l" defTabSz="798513" rtl="0" eaLnBrk="1" fontAlgn="base" hangingPunct="1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hyperlink" Target="mailto:ivan@telecky.legal" TargetMode="External"/><Relationship Id="rId2" Type="http://schemas.openxmlformats.org/officeDocument/2006/relationships/hyperlink" Target="mailto:psuchy@deloitteCE.com" TargetMode="External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s://www2.deloitte.com/ce/en/pages/about-deloitte/articles/dealmaking-in-central-europe.html" TargetMode="Externa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anet.org/Article/NewDetail.aspx?ArticleUid=77F93863-0705-4FC2-99A2-893276316811" TargetMode="External"/><Relationship Id="rId2" Type="http://schemas.openxmlformats.org/officeDocument/2006/relationships/hyperlink" Target="https://www.mnaport.com/" TargetMode="External"/><Relationship Id="rId1" Type="http://schemas.openxmlformats.org/officeDocument/2006/relationships/slideLayout" Target="../slideLayouts/slideLayout5.xml"/><Relationship Id="rId5" Type="http://schemas.openxmlformats.org/officeDocument/2006/relationships/hyperlink" Target="https://is.cuni.cz/webapps/zzp/detail/104667" TargetMode="External"/><Relationship Id="rId4" Type="http://schemas.openxmlformats.org/officeDocument/2006/relationships/hyperlink" Target="https://is.cuni.cz/webapps/zzp/detail/192031" TargetMode="Externa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358774" y="5731243"/>
            <a:ext cx="6372951" cy="585852"/>
          </a:xfrm>
        </p:spPr>
        <p:txBody>
          <a:bodyPr/>
          <a:lstStyle/>
          <a:p>
            <a:r>
              <a:rPr lang="cs-CZ" sz="2800" dirty="0"/>
              <a:t>Fúze a akvizice (1)</a:t>
            </a:r>
          </a:p>
          <a:p>
            <a:r>
              <a:rPr lang="cs-CZ" sz="1600" b="0" dirty="0"/>
              <a:t>JUDr. Ivan </a:t>
            </a:r>
            <a:r>
              <a:rPr lang="cs-CZ" sz="1600" b="0" dirty="0" err="1"/>
              <a:t>Telecký</a:t>
            </a:r>
            <a:r>
              <a:rPr lang="cs-CZ" sz="1600" b="0" dirty="0"/>
              <a:t>, Ph.D. </a:t>
            </a:r>
          </a:p>
          <a:p>
            <a:r>
              <a:rPr lang="cs-CZ" sz="1600" b="0" dirty="0"/>
              <a:t>Mgr. Petr Suchý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8908" y="795214"/>
            <a:ext cx="4626179" cy="4406817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C5866E1-5528-4769-A281-2878C2537F2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82661168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6BC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cs-CZ" sz="4800" dirty="0"/>
              <a:t>1. Úvod do M&amp;A</a:t>
            </a:r>
          </a:p>
        </p:txBody>
      </p:sp>
    </p:spTree>
    <p:extLst>
      <p:ext uri="{BB962C8B-B14F-4D97-AF65-F5344CB8AC3E}">
        <p14:creationId xmlns:p14="http://schemas.microsoft.com/office/powerpoint/2010/main" val="4194711405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/>
              <a:t>Co je M&amp;A  –  transakce v médiích</a:t>
            </a:r>
          </a:p>
        </p:txBody>
      </p:sp>
      <p:sp>
        <p:nvSpPr>
          <p:cNvPr id="4" name="Rectangle 3"/>
          <p:cNvSpPr/>
          <p:nvPr/>
        </p:nvSpPr>
        <p:spPr bwMode="gray">
          <a:xfrm>
            <a:off x="5538652" y="2960914"/>
            <a:ext cx="1898468" cy="300445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cs-CZ" sz="1600" b="1" dirty="0">
              <a:solidFill>
                <a:schemeClr val="bg1"/>
              </a:solidFill>
            </a:endParaRP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5EC00A4B-9D55-66B7-046B-CBDE84A6EA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6144" y="857606"/>
            <a:ext cx="6686013" cy="5606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0353470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/>
              <a:t>Co je M&amp;A  –  transakce v médiích</a:t>
            </a:r>
          </a:p>
        </p:txBody>
      </p:sp>
      <p:sp>
        <p:nvSpPr>
          <p:cNvPr id="4" name="Rectangle 3"/>
          <p:cNvSpPr/>
          <p:nvPr/>
        </p:nvSpPr>
        <p:spPr bwMode="gray">
          <a:xfrm>
            <a:off x="5799908" y="2429691"/>
            <a:ext cx="1898468" cy="300445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cs-CZ" sz="1600" b="1" dirty="0">
              <a:solidFill>
                <a:schemeClr val="bg1"/>
              </a:solidFill>
            </a:endParaRP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2A8A89FC-A0BE-C58C-C763-8DCDBBBCEB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6894" y="2073964"/>
            <a:ext cx="8309116" cy="2769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070616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/>
              <a:t>Co je M&amp;A  –  transakce v médiích</a:t>
            </a:r>
          </a:p>
        </p:txBody>
      </p:sp>
      <p:sp>
        <p:nvSpPr>
          <p:cNvPr id="4" name="Rectangle 3"/>
          <p:cNvSpPr/>
          <p:nvPr/>
        </p:nvSpPr>
        <p:spPr bwMode="gray">
          <a:xfrm>
            <a:off x="5799908" y="2429691"/>
            <a:ext cx="1898468" cy="300445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cs-CZ" sz="1600" b="1" dirty="0">
              <a:solidFill>
                <a:schemeClr val="bg1"/>
              </a:solidFill>
            </a:endParaRP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4F5E5515-B3F7-067A-958F-503518A207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3005" y="1019051"/>
            <a:ext cx="6597989" cy="4819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9197408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/>
              <a:t>Co je M&amp;A  –  transakce v médiích</a:t>
            </a:r>
          </a:p>
        </p:txBody>
      </p:sp>
      <p:sp>
        <p:nvSpPr>
          <p:cNvPr id="4" name="Rectangle 3"/>
          <p:cNvSpPr/>
          <p:nvPr/>
        </p:nvSpPr>
        <p:spPr bwMode="gray">
          <a:xfrm>
            <a:off x="5799908" y="2429691"/>
            <a:ext cx="1898468" cy="300445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cs-CZ" sz="1600" b="1" dirty="0">
              <a:solidFill>
                <a:schemeClr val="bg1"/>
              </a:solidFill>
            </a:endParaRP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937824A-2C5A-1B65-0868-FE1D8D837F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3877" y="1057152"/>
            <a:ext cx="7209643" cy="5552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3752209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/>
              <a:t>Co je M&amp;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800" dirty="0" err="1"/>
              <a:t>Mergers</a:t>
            </a:r>
            <a:r>
              <a:rPr lang="cs-CZ" sz="1800" dirty="0"/>
              <a:t> &amp; </a:t>
            </a:r>
            <a:r>
              <a:rPr lang="cs-CZ" sz="1800" dirty="0" err="1"/>
              <a:t>Acquisitions</a:t>
            </a:r>
            <a:r>
              <a:rPr lang="cs-CZ" sz="1800" dirty="0"/>
              <a:t> (fúze &amp; akvizice)</a:t>
            </a:r>
          </a:p>
          <a:p>
            <a:pPr marL="627063" lvl="2" indent="-282575"/>
            <a:r>
              <a:rPr lang="cs-CZ" sz="1800" dirty="0"/>
              <a:t>Akvizice (majoritních) kapitálových účastí v korporacích či akvizice podniků (typicky koupě nebo kapitálový vstup)</a:t>
            </a:r>
          </a:p>
          <a:p>
            <a:pPr marL="627063" lvl="2" indent="-282575"/>
            <a:r>
              <a:rPr lang="cs-CZ" sz="1800" dirty="0" err="1"/>
              <a:t>Divestice</a:t>
            </a:r>
            <a:r>
              <a:rPr lang="cs-CZ" sz="1800" dirty="0"/>
              <a:t> / prodej</a:t>
            </a:r>
          </a:p>
          <a:p>
            <a:pPr marL="627063" lvl="2" indent="-282575"/>
            <a:r>
              <a:rPr lang="cs-CZ" sz="1800" dirty="0"/>
              <a:t>Spojení korporací či podniků</a:t>
            </a:r>
          </a:p>
          <a:p>
            <a:pPr marL="627063" lvl="2" indent="-282575"/>
            <a:r>
              <a:rPr lang="cs-CZ" sz="1800" dirty="0"/>
              <a:t>Joint-</a:t>
            </a:r>
            <a:r>
              <a:rPr lang="cs-CZ" sz="1800" dirty="0" err="1"/>
              <a:t>ventures</a:t>
            </a:r>
            <a:r>
              <a:rPr lang="cs-CZ" sz="1800" dirty="0"/>
              <a:t> (společné podniky)</a:t>
            </a:r>
          </a:p>
          <a:p>
            <a:pPr marL="627063" lvl="2" indent="-282575"/>
            <a:r>
              <a:rPr lang="cs-CZ" sz="1800" dirty="0"/>
              <a:t>Reorganizace</a:t>
            </a:r>
          </a:p>
          <a:p>
            <a:endParaRPr lang="cs-CZ" sz="1800" dirty="0"/>
          </a:p>
        </p:txBody>
      </p:sp>
    </p:spTree>
    <p:extLst>
      <p:ext uri="{BB962C8B-B14F-4D97-AF65-F5344CB8AC3E}">
        <p14:creationId xmlns:p14="http://schemas.microsoft.com/office/powerpoint/2010/main" val="58432674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/>
              <a:t>Pojmy v M&amp;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8775" y="1412875"/>
            <a:ext cx="8489856" cy="4716463"/>
          </a:xfrm>
        </p:spPr>
        <p:txBody>
          <a:bodyPr numCol="2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 err="1"/>
              <a:t>BoD</a:t>
            </a:r>
            <a:r>
              <a:rPr lang="cs-CZ" sz="1600" dirty="0"/>
              <a:t> </a:t>
            </a:r>
            <a:r>
              <a:rPr lang="en-GB" sz="1600" dirty="0"/>
              <a:t> </a:t>
            </a:r>
            <a:r>
              <a:rPr lang="en-GB" dirty="0"/>
              <a:t>(Board of Directors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600" dirty="0" err="1"/>
              <a:t>CoC</a:t>
            </a:r>
            <a:r>
              <a:rPr lang="cs-CZ" sz="1600" dirty="0"/>
              <a:t>  </a:t>
            </a:r>
            <a:r>
              <a:rPr lang="cs-CZ" dirty="0"/>
              <a:t>(</a:t>
            </a:r>
            <a:r>
              <a:rPr lang="en-GB" dirty="0"/>
              <a:t>Change of Control</a:t>
            </a:r>
            <a:r>
              <a:rPr lang="cs-CZ" dirty="0"/>
              <a:t>)</a:t>
            </a:r>
            <a:endParaRPr lang="en-GB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CPs</a:t>
            </a:r>
            <a:r>
              <a:rPr lang="cs-CZ" sz="1600" dirty="0"/>
              <a:t> </a:t>
            </a:r>
            <a:r>
              <a:rPr lang="en-GB" sz="1600" dirty="0"/>
              <a:t> </a:t>
            </a:r>
            <a:r>
              <a:rPr lang="en-GB" dirty="0"/>
              <a:t>(Conditions Precedent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Consideration / Purchase pri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Debt / Equ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Earn-ou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EBIT</a:t>
            </a:r>
            <a:r>
              <a:rPr lang="cs-CZ" sz="1600" dirty="0"/>
              <a:t> </a:t>
            </a:r>
            <a:r>
              <a:rPr lang="en-GB" sz="1600" dirty="0"/>
              <a:t>/</a:t>
            </a:r>
            <a:r>
              <a:rPr lang="cs-CZ" sz="1600" dirty="0"/>
              <a:t> </a:t>
            </a:r>
            <a:r>
              <a:rPr lang="en-GB" sz="1600" dirty="0"/>
              <a:t>EBITD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Escrow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GM</a:t>
            </a:r>
            <a:r>
              <a:rPr lang="cs-CZ" sz="1600" dirty="0"/>
              <a:t> </a:t>
            </a:r>
            <a:r>
              <a:rPr lang="en-GB" sz="1600" dirty="0"/>
              <a:t> </a:t>
            </a:r>
            <a:r>
              <a:rPr lang="en-GB" dirty="0"/>
              <a:t>(General meeting)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Holdbac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IPO</a:t>
            </a:r>
            <a:r>
              <a:rPr lang="cs-CZ" sz="1600" dirty="0"/>
              <a:t> </a:t>
            </a:r>
            <a:r>
              <a:rPr lang="en-GB" sz="1600" dirty="0"/>
              <a:t> </a:t>
            </a:r>
            <a:r>
              <a:rPr lang="en-GB" dirty="0"/>
              <a:t>(Initial Public Offering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LBO</a:t>
            </a:r>
            <a:r>
              <a:rPr lang="cs-CZ" sz="1600" dirty="0"/>
              <a:t> </a:t>
            </a:r>
            <a:r>
              <a:rPr lang="en-GB" sz="1600" dirty="0"/>
              <a:t> </a:t>
            </a:r>
            <a:r>
              <a:rPr lang="en-GB" dirty="0"/>
              <a:t>(Leveraged Buy-Out)</a:t>
            </a:r>
            <a:endParaRPr lang="cs-CZ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600" dirty="0" err="1"/>
              <a:t>LoI</a:t>
            </a:r>
            <a:r>
              <a:rPr lang="cs-CZ" sz="1600" dirty="0"/>
              <a:t> </a:t>
            </a:r>
            <a:r>
              <a:rPr lang="cs-CZ" dirty="0"/>
              <a:t>(</a:t>
            </a:r>
            <a:r>
              <a:rPr lang="cs-CZ" dirty="0" err="1"/>
              <a:t>Letter</a:t>
            </a:r>
            <a:r>
              <a:rPr lang="cs-CZ" dirty="0"/>
              <a:t> </a:t>
            </a:r>
            <a:r>
              <a:rPr lang="cs-CZ" dirty="0" err="1"/>
              <a:t>of</a:t>
            </a:r>
            <a:r>
              <a:rPr lang="cs-CZ" dirty="0"/>
              <a:t> </a:t>
            </a:r>
            <a:r>
              <a:rPr lang="cs-CZ" dirty="0" err="1"/>
              <a:t>Intent</a:t>
            </a:r>
            <a:r>
              <a:rPr lang="cs-CZ" dirty="0"/>
              <a:t>)</a:t>
            </a:r>
            <a:endParaRPr lang="en-GB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MBO</a:t>
            </a:r>
            <a:r>
              <a:rPr lang="cs-CZ" sz="1600" dirty="0"/>
              <a:t> </a:t>
            </a:r>
            <a:r>
              <a:rPr lang="en-GB" sz="1600" dirty="0"/>
              <a:t> </a:t>
            </a:r>
            <a:r>
              <a:rPr lang="en-GB" dirty="0"/>
              <a:t>(Management Buy-Out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MBI</a:t>
            </a:r>
            <a:r>
              <a:rPr lang="cs-CZ" sz="1600" dirty="0"/>
              <a:t> </a:t>
            </a:r>
            <a:r>
              <a:rPr lang="en-GB" sz="1600" dirty="0"/>
              <a:t> </a:t>
            </a:r>
            <a:r>
              <a:rPr lang="en-GB" dirty="0"/>
              <a:t>(Management Buy-In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600" dirty="0"/>
              <a:t>NDA  </a:t>
            </a:r>
            <a:r>
              <a:rPr lang="cs-CZ" dirty="0"/>
              <a:t>(Non-</a:t>
            </a:r>
            <a:r>
              <a:rPr lang="cs-CZ" dirty="0" err="1"/>
              <a:t>Disclosure</a:t>
            </a:r>
            <a:r>
              <a:rPr lang="cs-CZ" dirty="0"/>
              <a:t> </a:t>
            </a:r>
            <a:r>
              <a:rPr lang="cs-CZ" dirty="0" err="1"/>
              <a:t>Agreement</a:t>
            </a:r>
            <a:r>
              <a:rPr lang="cs-CZ" dirty="0"/>
              <a:t>)</a:t>
            </a:r>
            <a:endParaRPr lang="cs-CZ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Purchaser / Buy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R&amp;W</a:t>
            </a:r>
            <a:r>
              <a:rPr lang="cs-CZ" sz="1600" dirty="0"/>
              <a:t> </a:t>
            </a:r>
            <a:r>
              <a:rPr lang="en-GB" sz="1600" dirty="0"/>
              <a:t> </a:t>
            </a:r>
            <a:r>
              <a:rPr lang="en-GB" dirty="0"/>
              <a:t>(Representations &amp; Warranties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Seller / Vendo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SB</a:t>
            </a:r>
            <a:r>
              <a:rPr lang="cs-CZ" sz="1600" dirty="0"/>
              <a:t> </a:t>
            </a:r>
            <a:r>
              <a:rPr lang="en-GB" sz="1600" dirty="0"/>
              <a:t> </a:t>
            </a:r>
            <a:r>
              <a:rPr lang="en-GB" dirty="0"/>
              <a:t>(Supervisory Board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SHA </a:t>
            </a:r>
            <a:r>
              <a:rPr lang="cs-CZ" sz="1600" dirty="0"/>
              <a:t> </a:t>
            </a:r>
            <a:r>
              <a:rPr lang="en-GB" dirty="0"/>
              <a:t>(Shareholders‘ Agreement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SPA</a:t>
            </a:r>
            <a:r>
              <a:rPr lang="cs-CZ" sz="1600" dirty="0"/>
              <a:t> </a:t>
            </a:r>
            <a:r>
              <a:rPr lang="en-GB" sz="1600" dirty="0"/>
              <a:t> </a:t>
            </a:r>
            <a:r>
              <a:rPr lang="en-GB" dirty="0"/>
              <a:t>(Sale &amp; Purchase Agreement)</a:t>
            </a:r>
          </a:p>
          <a:p>
            <a:pPr marL="517050" lvl="2" indent="-171450"/>
            <a:r>
              <a:rPr lang="cs-CZ" sz="1600" dirty="0"/>
              <a:t>  </a:t>
            </a:r>
            <a:r>
              <a:rPr lang="en-GB" sz="1600" dirty="0"/>
              <a:t>SPA</a:t>
            </a:r>
            <a:r>
              <a:rPr lang="cs-CZ" sz="1600" dirty="0"/>
              <a:t> </a:t>
            </a:r>
            <a:r>
              <a:rPr lang="en-GB" sz="1600" dirty="0"/>
              <a:t> </a:t>
            </a:r>
            <a:r>
              <a:rPr lang="en-GB" dirty="0"/>
              <a:t>(Share Purchase Agreement)</a:t>
            </a:r>
            <a:endParaRPr lang="cs-CZ" dirty="0"/>
          </a:p>
          <a:p>
            <a:pPr marL="517050" lvl="2" indent="-171450"/>
            <a:r>
              <a:rPr lang="cs-CZ" sz="1600" dirty="0"/>
              <a:t>  </a:t>
            </a:r>
            <a:r>
              <a:rPr lang="en-GB" sz="1600" dirty="0"/>
              <a:t>APA</a:t>
            </a:r>
            <a:r>
              <a:rPr lang="cs-CZ" sz="1600" dirty="0"/>
              <a:t> </a:t>
            </a:r>
            <a:r>
              <a:rPr lang="en-GB" sz="1600" dirty="0"/>
              <a:t> </a:t>
            </a:r>
            <a:r>
              <a:rPr lang="en-GB" dirty="0"/>
              <a:t>(Asset Purchase Agreement)</a:t>
            </a:r>
            <a:endParaRPr lang="en-GB" sz="125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Spin-off, Carve-out, Demerg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Target</a:t>
            </a:r>
          </a:p>
        </p:txBody>
      </p:sp>
    </p:spTree>
    <p:extLst>
      <p:ext uri="{BB962C8B-B14F-4D97-AF65-F5344CB8AC3E}">
        <p14:creationId xmlns:p14="http://schemas.microsoft.com/office/powerpoint/2010/main" val="3874943198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/>
              <a:t>Pojmy v M&amp;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cs-CZ" sz="1600" b="1" dirty="0"/>
              <a:t>Obchodní společnosti</a:t>
            </a:r>
            <a:r>
              <a:rPr lang="cs-CZ" sz="1600" dirty="0"/>
              <a:t> </a:t>
            </a:r>
          </a:p>
          <a:p>
            <a:r>
              <a:rPr lang="cs-CZ" sz="1400" dirty="0"/>
              <a:t>V legislativě České republiky upravuje zákon č. 90/2012 Sb., o obchodních společnostech a družstvech (ZOK), který nabyl účinnosti k 1. lednu 2014. Obchodní společnosti a družstva společně nazýváme </a:t>
            </a:r>
            <a:r>
              <a:rPr lang="cs-CZ" sz="1400" b="1" dirty="0"/>
              <a:t>obchodní korporace</a:t>
            </a:r>
            <a:r>
              <a:rPr lang="cs-CZ" sz="1400" dirty="0"/>
              <a:t>. </a:t>
            </a:r>
          </a:p>
          <a:p>
            <a:endParaRPr lang="cs-CZ" sz="500" b="1" dirty="0"/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cs-CZ" sz="1600" b="1" dirty="0"/>
              <a:t>Konglomerát </a:t>
            </a:r>
          </a:p>
          <a:p>
            <a:r>
              <a:rPr lang="cs-CZ" sz="1400" dirty="0"/>
              <a:t>V ekonomii: velký podnik (</a:t>
            </a:r>
            <a:r>
              <a:rPr lang="cs-CZ" sz="1400" b="1" dirty="0"/>
              <a:t>holding</a:t>
            </a:r>
            <a:r>
              <a:rPr lang="cs-CZ" sz="1400" dirty="0"/>
              <a:t>), do kterého patří podniky z různých nesouvisejících odvětví, synonyma: </a:t>
            </a:r>
            <a:r>
              <a:rPr lang="cs-CZ" sz="1400" b="1" dirty="0"/>
              <a:t>konglomerátní firma</a:t>
            </a:r>
            <a:r>
              <a:rPr lang="cs-CZ" sz="1400" dirty="0"/>
              <a:t>, </a:t>
            </a:r>
            <a:r>
              <a:rPr lang="cs-CZ" sz="1400" b="1" dirty="0"/>
              <a:t>smíšený koncern</a:t>
            </a:r>
          </a:p>
          <a:p>
            <a:endParaRPr lang="cs-CZ" sz="500" b="1" dirty="0"/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cs-CZ" sz="1600" b="1" dirty="0"/>
              <a:t>Holding</a:t>
            </a:r>
            <a:r>
              <a:rPr lang="cs-CZ" sz="1600" dirty="0"/>
              <a:t> </a:t>
            </a:r>
          </a:p>
          <a:p>
            <a:r>
              <a:rPr lang="cs-CZ" sz="1400" dirty="0"/>
              <a:t>Holding (zkráceně </a:t>
            </a:r>
            <a:r>
              <a:rPr lang="cs-CZ" sz="1400" i="1" dirty="0" err="1"/>
              <a:t>hld</a:t>
            </a:r>
            <a:r>
              <a:rPr lang="cs-CZ" sz="1400" i="1" dirty="0"/>
              <a:t>.</a:t>
            </a:r>
            <a:r>
              <a:rPr lang="cs-CZ" sz="1400" dirty="0"/>
              <a:t>, </a:t>
            </a:r>
            <a:r>
              <a:rPr lang="cs-CZ" sz="1400" i="1" dirty="0" err="1"/>
              <a:t>Hld</a:t>
            </a:r>
            <a:r>
              <a:rPr lang="cs-CZ" sz="1400" i="1" dirty="0"/>
              <a:t>.</a:t>
            </a:r>
            <a:r>
              <a:rPr lang="cs-CZ" sz="1400" dirty="0"/>
              <a:t>, </a:t>
            </a:r>
            <a:r>
              <a:rPr lang="cs-CZ" sz="1400" i="1" dirty="0" err="1"/>
              <a:t>Hld</a:t>
            </a:r>
            <a:r>
              <a:rPr lang="cs-CZ" sz="1400" dirty="0"/>
              <a:t>) je </a:t>
            </a:r>
            <a:r>
              <a:rPr lang="cs-CZ" sz="1400" b="1" dirty="0"/>
              <a:t>sdružení</a:t>
            </a:r>
            <a:r>
              <a:rPr lang="cs-CZ" sz="1400" dirty="0"/>
              <a:t> </a:t>
            </a:r>
            <a:r>
              <a:rPr lang="cs-CZ" sz="1400" b="1" dirty="0"/>
              <a:t>obchodních korporací</a:t>
            </a:r>
            <a:r>
              <a:rPr lang="cs-CZ" sz="1400" dirty="0"/>
              <a:t>, z nichž jedna korporace ostatní korporace řídí. </a:t>
            </a:r>
            <a:endParaRPr lang="cs-CZ" dirty="0"/>
          </a:p>
          <a:p>
            <a:r>
              <a:rPr lang="cs-CZ" sz="1400" dirty="0"/>
              <a:t>V zákoně: Jedna nebo více osob podrobených </a:t>
            </a:r>
            <a:r>
              <a:rPr lang="cs-CZ" sz="1400" u="sng" dirty="0"/>
              <a:t>jednotnému řízení</a:t>
            </a:r>
            <a:r>
              <a:rPr lang="cs-CZ" sz="1400" dirty="0"/>
              <a:t> (dále jen „řízená osoba“) jinou osobou nebo osobami (dále jen „řídící osoba“) tvoří s řídící osobou tzv. </a:t>
            </a:r>
            <a:r>
              <a:rPr lang="cs-CZ" sz="1400" b="1" dirty="0"/>
              <a:t>koncern</a:t>
            </a:r>
            <a:r>
              <a:rPr lang="cs-CZ" sz="1400" dirty="0"/>
              <a:t>. </a:t>
            </a:r>
            <a:r>
              <a:rPr lang="en-US" sz="1400" dirty="0"/>
              <a:t>[</a:t>
            </a:r>
            <a:r>
              <a:rPr lang="cs-CZ" sz="1400" dirty="0"/>
              <a:t>Srov. pojem koncern v § 79(1) ZOK</a:t>
            </a:r>
            <a:r>
              <a:rPr lang="en-US" sz="1400" dirty="0"/>
              <a:t>]</a:t>
            </a:r>
            <a:endParaRPr lang="cs-CZ" sz="1400" dirty="0"/>
          </a:p>
        </p:txBody>
      </p:sp>
    </p:spTree>
    <p:extLst>
      <p:ext uri="{BB962C8B-B14F-4D97-AF65-F5344CB8AC3E}">
        <p14:creationId xmlns:p14="http://schemas.microsoft.com/office/powerpoint/2010/main" val="4114786669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/>
              <a:t>Subjekty v M&amp;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600" b="1" dirty="0"/>
              <a:t>Kupující</a:t>
            </a:r>
            <a:r>
              <a:rPr lang="cs-CZ" sz="1600" dirty="0"/>
              <a:t>: (i) strategičtí investoři (</a:t>
            </a:r>
            <a:r>
              <a:rPr lang="cs-CZ" sz="1600" dirty="0" err="1"/>
              <a:t>ii</a:t>
            </a:r>
            <a:r>
              <a:rPr lang="cs-CZ" sz="1600" dirty="0"/>
              <a:t>) finanční investoři (</a:t>
            </a:r>
            <a:r>
              <a:rPr lang="cs-CZ" sz="1600" dirty="0" err="1"/>
              <a:t>private</a:t>
            </a:r>
            <a:r>
              <a:rPr lang="cs-CZ" sz="1600" dirty="0"/>
              <a:t> </a:t>
            </a:r>
            <a:r>
              <a:rPr lang="cs-CZ" sz="1600" dirty="0" err="1"/>
              <a:t>equity</a:t>
            </a:r>
            <a:r>
              <a:rPr lang="cs-CZ" sz="1600" dirty="0"/>
              <a:t>)</a:t>
            </a:r>
          </a:p>
          <a:p>
            <a:endParaRPr lang="cs-CZ" sz="4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600" b="1" dirty="0"/>
              <a:t>Prodávající</a:t>
            </a:r>
            <a:r>
              <a:rPr lang="cs-CZ" sz="1600" dirty="0"/>
              <a:t>: jeden nebo více společníků či akcionářů nebo </a:t>
            </a:r>
            <a:r>
              <a:rPr lang="cs-CZ" sz="1600" dirty="0" err="1"/>
              <a:t>target</a:t>
            </a:r>
            <a:r>
              <a:rPr lang="cs-CZ" sz="1600" dirty="0"/>
              <a:t> sám</a:t>
            </a:r>
          </a:p>
          <a:p>
            <a:endParaRPr lang="cs-CZ" sz="4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600" b="1" dirty="0"/>
              <a:t>Target</a:t>
            </a:r>
            <a:r>
              <a:rPr lang="cs-CZ" sz="1600" dirty="0"/>
              <a:t>: cílová společnost / firma / závod</a:t>
            </a:r>
          </a:p>
          <a:p>
            <a:endParaRPr lang="cs-CZ" sz="4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600" b="1" dirty="0"/>
              <a:t>Banky</a:t>
            </a:r>
            <a:r>
              <a:rPr lang="cs-CZ" sz="1600" dirty="0"/>
              <a:t>: retail banky, investiční banky – v US striktně odděleno (Morgan Stanley, </a:t>
            </a:r>
            <a:r>
              <a:rPr lang="cs-CZ" sz="1600" dirty="0" err="1"/>
              <a:t>Goldman</a:t>
            </a:r>
            <a:r>
              <a:rPr lang="cs-CZ" sz="1600" dirty="0"/>
              <a:t> </a:t>
            </a:r>
            <a:r>
              <a:rPr lang="cs-CZ" sz="1600" dirty="0" err="1"/>
              <a:t>Sachs</a:t>
            </a:r>
            <a:r>
              <a:rPr lang="cs-CZ" sz="1600" dirty="0"/>
              <a:t>), v CZ lze současně (KB, ČS, CSOB)</a:t>
            </a:r>
          </a:p>
          <a:p>
            <a:endParaRPr lang="cs-CZ" sz="4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600" b="1" dirty="0"/>
              <a:t>Zprostředkovatelé</a:t>
            </a:r>
            <a:r>
              <a:rPr lang="cs-CZ" sz="1600" dirty="0"/>
              <a:t>: Deloitte, PwC, EY, KPMG, </a:t>
            </a:r>
            <a:r>
              <a:rPr lang="cs-CZ" sz="1600" dirty="0" err="1"/>
              <a:t>Wood&amp;Co</a:t>
            </a:r>
            <a:r>
              <a:rPr lang="cs-CZ" sz="1600" dirty="0"/>
              <a:t>., </a:t>
            </a:r>
            <a:r>
              <a:rPr lang="cs-CZ" sz="1600" dirty="0" err="1"/>
              <a:t>Patria</a:t>
            </a:r>
            <a:r>
              <a:rPr lang="cs-CZ" sz="1600" dirty="0"/>
              <a:t>, </a:t>
            </a:r>
            <a:r>
              <a:rPr lang="cs-CZ" sz="1600" dirty="0" err="1"/>
              <a:t>Redbaenk</a:t>
            </a:r>
            <a:endParaRPr lang="cs-CZ" sz="1600" dirty="0"/>
          </a:p>
          <a:p>
            <a:endParaRPr lang="cs-CZ" sz="4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600" b="1" dirty="0"/>
              <a:t>Poradci</a:t>
            </a:r>
            <a:r>
              <a:rPr lang="cs-CZ" sz="1600" dirty="0"/>
              <a:t>: právníci, účetní, </a:t>
            </a:r>
            <a:r>
              <a:rPr lang="cs-CZ" sz="1600" dirty="0" err="1"/>
              <a:t>daňaři</a:t>
            </a:r>
            <a:r>
              <a:rPr lang="cs-CZ" sz="1600" dirty="0"/>
              <a:t>, znalci, specialisté (IT, </a:t>
            </a:r>
            <a:r>
              <a:rPr lang="cs-CZ" sz="1600" dirty="0" err="1"/>
              <a:t>enviro</a:t>
            </a:r>
            <a:r>
              <a:rPr lang="cs-CZ" sz="1600" dirty="0"/>
              <a:t>, marketing) / otázka </a:t>
            </a:r>
            <a:r>
              <a:rPr lang="cs-CZ" sz="1600" dirty="0" err="1"/>
              <a:t>success</a:t>
            </a:r>
            <a:r>
              <a:rPr lang="cs-CZ" sz="1600" dirty="0"/>
              <a:t> </a:t>
            </a:r>
            <a:r>
              <a:rPr lang="cs-CZ" sz="1600" dirty="0" err="1"/>
              <a:t>fee</a:t>
            </a:r>
            <a:endParaRPr lang="cs-CZ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cs-CZ" sz="1800" dirty="0"/>
          </a:p>
        </p:txBody>
      </p:sp>
    </p:spTree>
    <p:extLst>
      <p:ext uri="{BB962C8B-B14F-4D97-AF65-F5344CB8AC3E}">
        <p14:creationId xmlns:p14="http://schemas.microsoft.com/office/powerpoint/2010/main" val="115687511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/>
              <a:t>M&amp;A transakční struktur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800" b="1" dirty="0" err="1"/>
              <a:t>Share</a:t>
            </a:r>
            <a:r>
              <a:rPr lang="cs-CZ" sz="1800" b="1" dirty="0"/>
              <a:t> </a:t>
            </a:r>
            <a:r>
              <a:rPr lang="cs-CZ" sz="1800" b="1" dirty="0" err="1"/>
              <a:t>deal</a:t>
            </a:r>
            <a:endParaRPr lang="cs-CZ" sz="1800" b="1" dirty="0"/>
          </a:p>
          <a:p>
            <a:pPr marL="627063" lvl="2" indent="-282575"/>
            <a:r>
              <a:rPr lang="cs-CZ" sz="1800" dirty="0"/>
              <a:t>Prodej podílů (s.r.o.)</a:t>
            </a:r>
          </a:p>
          <a:p>
            <a:pPr marL="627063" lvl="2" indent="-282575"/>
            <a:r>
              <a:rPr lang="cs-CZ" sz="1800" dirty="0"/>
              <a:t>Prodej akcií (a.s.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800" b="1" dirty="0" err="1"/>
              <a:t>Asset</a:t>
            </a:r>
            <a:r>
              <a:rPr lang="cs-CZ" sz="1800" b="1" dirty="0"/>
              <a:t> </a:t>
            </a:r>
            <a:r>
              <a:rPr lang="cs-CZ" sz="1800" b="1" dirty="0" err="1"/>
              <a:t>deal</a:t>
            </a:r>
            <a:endParaRPr lang="cs-CZ" sz="1800" b="1" dirty="0"/>
          </a:p>
          <a:p>
            <a:pPr marL="627063" lvl="2" indent="-282575"/>
            <a:r>
              <a:rPr lang="cs-CZ" sz="1800" dirty="0"/>
              <a:t>Prodej majetku</a:t>
            </a:r>
          </a:p>
          <a:p>
            <a:pPr marL="627063" lvl="2" indent="-282575"/>
            <a:r>
              <a:rPr lang="cs-CZ" sz="1800" dirty="0"/>
              <a:t>Prodej závodu (podniku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800" b="1" dirty="0"/>
              <a:t>Fúze a jiné korporátní přeměny </a:t>
            </a:r>
            <a:r>
              <a:rPr lang="cs-CZ" sz="1800" dirty="0"/>
              <a:t>/ transakce</a:t>
            </a:r>
          </a:p>
          <a:p>
            <a:endParaRPr lang="cs-CZ" sz="1800" dirty="0"/>
          </a:p>
          <a:p>
            <a:r>
              <a:rPr lang="cs-CZ" sz="1800" dirty="0"/>
              <a:t>Volbu struktury ovlivňují předmět akvizice a jeho specifika, daňové a účetní aspekty, podmínky financování, rizika transakce, a další…</a:t>
            </a:r>
          </a:p>
        </p:txBody>
      </p:sp>
    </p:spTree>
    <p:extLst>
      <p:ext uri="{BB962C8B-B14F-4D97-AF65-F5344CB8AC3E}">
        <p14:creationId xmlns:p14="http://schemas.microsoft.com/office/powerpoint/2010/main" val="2979063365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6BC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7" y="1705669"/>
            <a:ext cx="8372475" cy="1592403"/>
          </a:xfrm>
        </p:spPr>
        <p:txBody>
          <a:bodyPr/>
          <a:lstStyle/>
          <a:p>
            <a:pPr algn="ctr"/>
            <a:r>
              <a:rPr lang="cs-CZ" sz="4800" dirty="0"/>
              <a:t>Organizace předmětu</a:t>
            </a:r>
          </a:p>
        </p:txBody>
      </p:sp>
    </p:spTree>
    <p:extLst>
      <p:ext uri="{BB962C8B-B14F-4D97-AF65-F5344CB8AC3E}">
        <p14:creationId xmlns:p14="http://schemas.microsoft.com/office/powerpoint/2010/main" val="1531898264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6BC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cs-CZ" sz="4800" dirty="0"/>
              <a:t>2. Motivace v M&amp;A</a:t>
            </a:r>
          </a:p>
        </p:txBody>
      </p:sp>
    </p:spTree>
    <p:extLst>
      <p:ext uri="{BB962C8B-B14F-4D97-AF65-F5344CB8AC3E}">
        <p14:creationId xmlns:p14="http://schemas.microsoft.com/office/powerpoint/2010/main" val="4038289229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/>
              <a:t>Motivace pro prodávající</a:t>
            </a:r>
            <a:br>
              <a:rPr lang="cs-CZ" b="1" dirty="0"/>
            </a:b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Dokončení investičního cyklu (fondy soukromého kapitálu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Odchod do důchodu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Posun od společnosti hnané podnikatelským nadšením k profesionální společnost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Potřeba kapitálové injek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Prodej v důsledku špatné akviz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Prodej ztrátové divize</a:t>
            </a:r>
            <a:endParaRPr lang="en-US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err="1"/>
              <a:t>Prodej</a:t>
            </a:r>
            <a:r>
              <a:rPr lang="en-US" sz="1800" dirty="0"/>
              <a:t> v d</a:t>
            </a:r>
            <a:r>
              <a:rPr lang="cs-CZ" sz="1800" dirty="0" err="1"/>
              <a:t>ůsledku</a:t>
            </a:r>
            <a:r>
              <a:rPr lang="cs-CZ" sz="1800" dirty="0"/>
              <a:t> změny obchodní strategi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Změna </a:t>
            </a:r>
            <a:r>
              <a:rPr lang="cs-CZ" sz="1800" dirty="0" err="1"/>
              <a:t>industry</a:t>
            </a:r>
            <a:r>
              <a:rPr lang="cs-CZ" sz="1800" dirty="0"/>
              <a:t> (prostředí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Makroekonomické změny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Hledání synergických efektů</a:t>
            </a:r>
          </a:p>
        </p:txBody>
      </p:sp>
    </p:spTree>
    <p:extLst>
      <p:ext uri="{BB962C8B-B14F-4D97-AF65-F5344CB8AC3E}">
        <p14:creationId xmlns:p14="http://schemas.microsoft.com/office/powerpoint/2010/main" val="1391327539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/>
              <a:t>Motivace pro kupující</a:t>
            </a:r>
            <a:br>
              <a:rPr lang="cs-CZ" b="1" dirty="0"/>
            </a:b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Synergi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Růst (</a:t>
            </a:r>
            <a:r>
              <a:rPr lang="cs-CZ" sz="1800" dirty="0" err="1"/>
              <a:t>growth</a:t>
            </a:r>
            <a:r>
              <a:rPr lang="cs-CZ" sz="1800" dirty="0"/>
              <a:t>) (</a:t>
            </a:r>
            <a:r>
              <a:rPr lang="cs-CZ" sz="1800" dirty="0" err="1"/>
              <a:t>horizontal</a:t>
            </a:r>
            <a:r>
              <a:rPr lang="cs-CZ" sz="1800" dirty="0"/>
              <a:t> </a:t>
            </a:r>
            <a:r>
              <a:rPr lang="cs-CZ" sz="1800" dirty="0" err="1"/>
              <a:t>merger</a:t>
            </a:r>
            <a:r>
              <a:rPr lang="cs-CZ" sz="18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Eliminace (koupě) konkurence (</a:t>
            </a:r>
            <a:r>
              <a:rPr lang="cs-CZ" sz="1800" dirty="0" err="1"/>
              <a:t>horizontal</a:t>
            </a:r>
            <a:r>
              <a:rPr lang="cs-CZ" sz="1800" dirty="0"/>
              <a:t> </a:t>
            </a:r>
            <a:r>
              <a:rPr lang="cs-CZ" sz="1800" dirty="0" err="1"/>
              <a:t>merger</a:t>
            </a:r>
            <a:r>
              <a:rPr lang="cs-CZ" sz="18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Diverzifika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Přístup k novým produktům, trhům, technologií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Finanční invest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Koupě dodavatele (</a:t>
            </a:r>
            <a:r>
              <a:rPr lang="cs-CZ" sz="1800" dirty="0" err="1"/>
              <a:t>vertical</a:t>
            </a:r>
            <a:r>
              <a:rPr lang="cs-CZ" sz="1800" dirty="0"/>
              <a:t> </a:t>
            </a:r>
            <a:r>
              <a:rPr lang="cs-CZ" sz="1800" dirty="0" err="1"/>
              <a:t>merger</a:t>
            </a:r>
            <a:r>
              <a:rPr lang="cs-CZ" sz="18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Získat výhodu velikosti (fixní náklady zůstávají stejné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"</a:t>
            </a:r>
            <a:r>
              <a:rPr lang="cs-CZ" sz="1800" dirty="0" err="1"/>
              <a:t>acqui-hire</a:t>
            </a:r>
            <a:r>
              <a:rPr lang="cs-CZ" sz="1800" dirty="0"/>
              <a:t>" akvizice talentů (technolog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Daňové důvody</a:t>
            </a:r>
          </a:p>
        </p:txBody>
      </p:sp>
    </p:spTree>
    <p:extLst>
      <p:ext uri="{BB962C8B-B14F-4D97-AF65-F5344CB8AC3E}">
        <p14:creationId xmlns:p14="http://schemas.microsoft.com/office/powerpoint/2010/main" val="2818301714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/>
              <a:t>Strategický nebo finanční investo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sz="1800" b="1" dirty="0"/>
              <a:t>Strategický invest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Zpravidla stejný obor jako </a:t>
            </a:r>
            <a:r>
              <a:rPr lang="cs-CZ" sz="1800" dirty="0" err="1"/>
              <a:t>target</a:t>
            </a:r>
            <a:r>
              <a:rPr lang="cs-CZ" sz="1800" dirty="0"/>
              <a:t>, nebo jiný strategický zámě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Zná obor </a:t>
            </a:r>
            <a:r>
              <a:rPr lang="cs-CZ" sz="1800" dirty="0" err="1"/>
              <a:t>targetu</a:t>
            </a:r>
            <a:r>
              <a:rPr lang="cs-CZ" sz="1800" dirty="0"/>
              <a:t>, méně citlivý k obchodním a operačním riziků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Dlouhodobý horizont</a:t>
            </a:r>
          </a:p>
          <a:p>
            <a:endParaRPr lang="cs-CZ" sz="1800" dirty="0"/>
          </a:p>
          <a:p>
            <a:r>
              <a:rPr lang="cs-CZ" sz="1800" b="1" dirty="0"/>
              <a:t>Finanční invest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Kromě finanční investice i účast na řízení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Často citlivější na rizika než strategický invest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M&amp;A proces jako rutin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Časově omezený horizont (5-7 let)</a:t>
            </a:r>
          </a:p>
          <a:p>
            <a:endParaRPr lang="cs-CZ" sz="1800" dirty="0"/>
          </a:p>
          <a:p>
            <a:r>
              <a:rPr lang="cs-CZ" sz="1800" dirty="0"/>
              <a:t>Specifické transakce – finanční investor proti strategickému</a:t>
            </a:r>
          </a:p>
        </p:txBody>
      </p:sp>
    </p:spTree>
    <p:extLst>
      <p:ext uri="{BB962C8B-B14F-4D97-AF65-F5344CB8AC3E}">
        <p14:creationId xmlns:p14="http://schemas.microsoft.com/office/powerpoint/2010/main" val="3198567178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Private Equit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6238" y="1665288"/>
            <a:ext cx="3881997" cy="4716463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Fondy soukromého kapitálu (</a:t>
            </a:r>
            <a:r>
              <a:rPr lang="cs-CZ" sz="1800" dirty="0" err="1"/>
              <a:t>Private</a:t>
            </a:r>
            <a:r>
              <a:rPr lang="cs-CZ" sz="1800" dirty="0"/>
              <a:t> </a:t>
            </a:r>
            <a:r>
              <a:rPr lang="cs-CZ" sz="1800" dirty="0" err="1"/>
              <a:t>Equity</a:t>
            </a:r>
            <a:r>
              <a:rPr lang="cs-CZ" sz="1800" dirty="0"/>
              <a:t>) investující do privátních firem/společností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General partner – profesionální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Limited </a:t>
            </a:r>
            <a:r>
              <a:rPr lang="cs-CZ" sz="1800" dirty="0" err="1"/>
              <a:t>partners</a:t>
            </a:r>
            <a:r>
              <a:rPr lang="cs-CZ" sz="1800" dirty="0"/>
              <a:t> – investoři (od </a:t>
            </a:r>
            <a:r>
              <a:rPr lang="cs-CZ" sz="1800" dirty="0" err="1"/>
              <a:t>fyz</a:t>
            </a:r>
            <a:r>
              <a:rPr lang="cs-CZ" sz="1800" dirty="0"/>
              <a:t>. osob/rodin po finanční instituc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Portfolio aktiv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Investiční strategie (výše jedné investice, objem prostředků, odvětví, geografi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Investiční cyklus:</a:t>
            </a:r>
            <a:br>
              <a:rPr lang="cs-CZ" sz="1800" dirty="0"/>
            </a:br>
            <a:r>
              <a:rPr lang="cs-CZ" sz="1800" dirty="0"/>
              <a:t>akvizice </a:t>
            </a:r>
            <a:r>
              <a:rPr lang="cs-CZ" sz="1800" dirty="0">
                <a:latin typeface="Calibri" panose="020F0502020204030204" pitchFamily="34" charset="0"/>
                <a:cs typeface="Calibri" panose="020F0502020204030204" pitchFamily="34" charset="0"/>
              </a:rPr>
              <a:t>→ </a:t>
            </a:r>
            <a:r>
              <a:rPr lang="cs-CZ" sz="1800" dirty="0"/>
              <a:t>zhodnocení </a:t>
            </a:r>
            <a:r>
              <a:rPr lang="cs-CZ" sz="1800" dirty="0">
                <a:latin typeface="Calibri" panose="020F0502020204030204" pitchFamily="34" charset="0"/>
                <a:cs typeface="Calibri" panose="020F0502020204030204" pitchFamily="34" charset="0"/>
              </a:rPr>
              <a:t>→</a:t>
            </a:r>
            <a:r>
              <a:rPr lang="cs-CZ" sz="1800" dirty="0"/>
              <a:t> exit</a:t>
            </a:r>
          </a:p>
          <a:p>
            <a:endParaRPr lang="cs-CZ" sz="1800" dirty="0"/>
          </a:p>
        </p:txBody>
      </p:sp>
      <p:sp>
        <p:nvSpPr>
          <p:cNvPr id="5" name="Rectangle 4"/>
          <p:cNvSpPr/>
          <p:nvPr/>
        </p:nvSpPr>
        <p:spPr>
          <a:xfrm>
            <a:off x="4627608" y="1728458"/>
            <a:ext cx="1952485" cy="81751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cs-CZ" sz="1100" b="1" dirty="0">
                <a:solidFill>
                  <a:schemeClr val="bg1"/>
                </a:solidFill>
              </a:rPr>
              <a:t>GENERAL PARTNER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cs-CZ" sz="1100" b="1" dirty="0">
                <a:solidFill>
                  <a:schemeClr val="bg1"/>
                </a:solidFill>
              </a:rPr>
              <a:t>(FUND MANAGEMENT)</a:t>
            </a:r>
            <a:endParaRPr lang="en-GB" sz="1100" b="1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841353" y="1728457"/>
            <a:ext cx="1952485" cy="81751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cs-CZ" sz="1100" b="1" dirty="0">
                <a:solidFill>
                  <a:schemeClr val="bg1"/>
                </a:solidFill>
              </a:rPr>
              <a:t>LIMITED PARTNER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cs-CZ" sz="1100" b="1" dirty="0">
                <a:solidFill>
                  <a:schemeClr val="bg1"/>
                </a:solidFill>
              </a:rPr>
              <a:t>(INVESTORS)</a:t>
            </a:r>
            <a:endParaRPr lang="en-GB" sz="1100" b="1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766125" y="2919134"/>
            <a:ext cx="1952485" cy="81751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cs-CZ" sz="1100" b="1" dirty="0">
                <a:solidFill>
                  <a:schemeClr val="bg1"/>
                </a:solidFill>
              </a:rPr>
              <a:t>PRIVATE EQUITY FUND </a:t>
            </a:r>
            <a:br>
              <a:rPr lang="cs-CZ" sz="1100" b="1" dirty="0">
                <a:solidFill>
                  <a:schemeClr val="bg1"/>
                </a:solidFill>
              </a:rPr>
            </a:br>
            <a:r>
              <a:rPr lang="cs-CZ" sz="1100" b="1" dirty="0">
                <a:solidFill>
                  <a:schemeClr val="bg1"/>
                </a:solidFill>
              </a:rPr>
              <a:t>(LIMITED PARTNERSHIP)</a:t>
            </a:r>
            <a:endParaRPr lang="en-GB" sz="1100" b="1" dirty="0">
              <a:solidFill>
                <a:schemeClr val="bg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690361" y="4264047"/>
            <a:ext cx="1952485" cy="8175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cs-CZ" sz="1100" b="1" dirty="0">
                <a:solidFill>
                  <a:schemeClr val="bg1"/>
                </a:solidFill>
              </a:rPr>
              <a:t>INVESTMENT / ASSET </a:t>
            </a:r>
            <a:r>
              <a:rPr lang="en-US" sz="1100" b="1" dirty="0">
                <a:solidFill>
                  <a:schemeClr val="bg1"/>
                </a:solidFill>
              </a:rPr>
              <a:t>#</a:t>
            </a:r>
            <a:r>
              <a:rPr lang="cs-CZ" sz="1100" b="1" dirty="0">
                <a:solidFill>
                  <a:schemeClr val="bg1"/>
                </a:solidFill>
              </a:rPr>
              <a:t>1</a:t>
            </a:r>
            <a:endParaRPr lang="en-GB" sz="1100" b="1" dirty="0">
              <a:solidFill>
                <a:schemeClr val="bg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872730" y="4271168"/>
            <a:ext cx="1952485" cy="8175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cs-CZ" sz="1100" b="1" dirty="0">
                <a:solidFill>
                  <a:schemeClr val="bg1"/>
                </a:solidFill>
              </a:rPr>
              <a:t>INVESTMENT / ASSET </a:t>
            </a:r>
            <a:r>
              <a:rPr lang="en-US" sz="1100" b="1" dirty="0">
                <a:solidFill>
                  <a:schemeClr val="bg1"/>
                </a:solidFill>
              </a:rPr>
              <a:t>#</a:t>
            </a:r>
            <a:r>
              <a:rPr lang="cs-CZ" sz="1100" b="1" dirty="0">
                <a:solidFill>
                  <a:schemeClr val="bg1"/>
                </a:solidFill>
              </a:rPr>
              <a:t>2</a:t>
            </a:r>
            <a:endParaRPr lang="en-GB" sz="1100" b="1" dirty="0">
              <a:solidFill>
                <a:schemeClr val="bg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690360" y="5247631"/>
            <a:ext cx="1952485" cy="8175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cs-CZ" sz="1100" b="1" dirty="0">
                <a:solidFill>
                  <a:schemeClr val="bg1"/>
                </a:solidFill>
              </a:rPr>
              <a:t>INVESTMENT / ASSET </a:t>
            </a:r>
            <a:r>
              <a:rPr lang="en-US" sz="1100" b="1" dirty="0">
                <a:solidFill>
                  <a:schemeClr val="bg1"/>
                </a:solidFill>
              </a:rPr>
              <a:t>#</a:t>
            </a:r>
            <a:r>
              <a:rPr lang="cs-CZ" sz="1100" b="1" dirty="0">
                <a:solidFill>
                  <a:schemeClr val="bg1"/>
                </a:solidFill>
              </a:rPr>
              <a:t>3</a:t>
            </a:r>
            <a:endParaRPr lang="en-GB" sz="1100" b="1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872729" y="5247630"/>
            <a:ext cx="1952485" cy="8175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cs-CZ" sz="1100" b="1" dirty="0">
                <a:solidFill>
                  <a:schemeClr val="bg1"/>
                </a:solidFill>
              </a:rPr>
              <a:t>INVESTMENT / ASSET </a:t>
            </a:r>
            <a:r>
              <a:rPr lang="en-US" sz="1100" b="1" dirty="0">
                <a:solidFill>
                  <a:schemeClr val="bg1"/>
                </a:solidFill>
              </a:rPr>
              <a:t>#</a:t>
            </a:r>
            <a:r>
              <a:rPr lang="cs-CZ" sz="1100" b="1" dirty="0">
                <a:solidFill>
                  <a:schemeClr val="bg1"/>
                </a:solidFill>
              </a:rPr>
              <a:t>4</a:t>
            </a:r>
            <a:endParaRPr lang="en-GB" sz="1100" b="1" dirty="0">
              <a:solidFill>
                <a:schemeClr val="bg1"/>
              </a:solidFill>
            </a:endParaRPr>
          </a:p>
        </p:txBody>
      </p:sp>
      <p:sp>
        <p:nvSpPr>
          <p:cNvPr id="19" name="Down Arrow 18"/>
          <p:cNvSpPr/>
          <p:nvPr/>
        </p:nvSpPr>
        <p:spPr bwMode="gray">
          <a:xfrm>
            <a:off x="5766125" y="2586154"/>
            <a:ext cx="519953" cy="295838"/>
          </a:xfrm>
          <a:prstGeom prst="downArrow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cs-CZ" sz="1600" b="1" dirty="0">
              <a:solidFill>
                <a:schemeClr val="bg1"/>
              </a:solidFill>
            </a:endParaRPr>
          </a:p>
        </p:txBody>
      </p:sp>
      <p:sp>
        <p:nvSpPr>
          <p:cNvPr id="20" name="Down Arrow 19"/>
          <p:cNvSpPr/>
          <p:nvPr/>
        </p:nvSpPr>
        <p:spPr bwMode="gray">
          <a:xfrm>
            <a:off x="7150635" y="2583116"/>
            <a:ext cx="519953" cy="295838"/>
          </a:xfrm>
          <a:prstGeom prst="downArrow">
            <a:avLst/>
          </a:prstGeom>
          <a:solidFill>
            <a:schemeClr val="accent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cs-CZ" sz="1600" b="1" dirty="0">
              <a:solidFill>
                <a:schemeClr val="bg1"/>
              </a:solidFill>
            </a:endParaRPr>
          </a:p>
        </p:txBody>
      </p:sp>
      <p:sp>
        <p:nvSpPr>
          <p:cNvPr id="22" name="Down Arrow 21"/>
          <p:cNvSpPr/>
          <p:nvPr/>
        </p:nvSpPr>
        <p:spPr bwMode="gray">
          <a:xfrm>
            <a:off x="6482390" y="3816385"/>
            <a:ext cx="519953" cy="295838"/>
          </a:xfrm>
          <a:prstGeom prst="downArrow">
            <a:avLst/>
          </a:prstGeom>
          <a:solidFill>
            <a:schemeClr val="accent6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cs-CZ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8250626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6BC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cs-CZ" sz="4800" dirty="0"/>
              <a:t>3. M&amp;A problematické transakce</a:t>
            </a:r>
          </a:p>
        </p:txBody>
      </p:sp>
    </p:spTree>
    <p:extLst>
      <p:ext uri="{BB962C8B-B14F-4D97-AF65-F5344CB8AC3E}">
        <p14:creationId xmlns:p14="http://schemas.microsoft.com/office/powerpoint/2010/main" val="3458693324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3" name="Nadpis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/>
              <a:t>M&amp;A ve světě – problematické transakce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sz="1600" b="1" dirty="0"/>
              <a:t>Akvizice </a:t>
            </a:r>
            <a:r>
              <a:rPr lang="cs-CZ" sz="1600" b="1" dirty="0" err="1"/>
              <a:t>Bentley</a:t>
            </a:r>
            <a:r>
              <a:rPr lang="cs-CZ" sz="1600" b="1" dirty="0"/>
              <a:t> a </a:t>
            </a:r>
            <a:r>
              <a:rPr lang="cs-CZ" sz="1600" b="1" dirty="0" err="1"/>
              <a:t>Rolls</a:t>
            </a:r>
            <a:r>
              <a:rPr lang="cs-CZ" sz="1600" b="1" dirty="0"/>
              <a:t> </a:t>
            </a:r>
            <a:r>
              <a:rPr lang="cs-CZ" sz="1600" b="1" dirty="0" err="1"/>
              <a:t>Royce</a:t>
            </a:r>
            <a:r>
              <a:rPr lang="cs-CZ" sz="1600" b="1" dirty="0"/>
              <a:t> ze strany VW (1998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Koupě výrobních závodů v UK (400 mil GBP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Absence ochranné známky RR</a:t>
            </a:r>
          </a:p>
          <a:p>
            <a:pPr>
              <a:spcBef>
                <a:spcPts val="1200"/>
              </a:spcBef>
            </a:pPr>
            <a:r>
              <a:rPr lang="cs-CZ" sz="1600" b="1" dirty="0"/>
              <a:t>Hewlett Packard – Autonomy (2011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Akvizice ve výši 11 </a:t>
            </a:r>
            <a:r>
              <a:rPr lang="cs-CZ" sz="1400" dirty="0" err="1"/>
              <a:t>mld</a:t>
            </a:r>
            <a:r>
              <a:rPr lang="cs-CZ" sz="1400" dirty="0"/>
              <a:t> USD, odpis 8,8 </a:t>
            </a:r>
            <a:r>
              <a:rPr lang="cs-CZ" sz="1400" dirty="0" err="1"/>
              <a:t>mld</a:t>
            </a:r>
            <a:r>
              <a:rPr lang="cs-CZ" sz="1400" dirty="0"/>
              <a:t> US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Nesrovnalosti v účetnictví (záměrně zkreslené informace)</a:t>
            </a:r>
          </a:p>
          <a:p>
            <a:pPr>
              <a:spcBef>
                <a:spcPts val="1200"/>
              </a:spcBef>
            </a:pPr>
            <a:r>
              <a:rPr lang="cs-CZ" sz="1600" b="1" dirty="0" err="1"/>
              <a:t>Pfizer</a:t>
            </a:r>
            <a:r>
              <a:rPr lang="cs-CZ" sz="1600" b="1" dirty="0"/>
              <a:t> (USA) – </a:t>
            </a:r>
            <a:r>
              <a:rPr lang="cs-CZ" sz="1600" b="1" dirty="0" err="1"/>
              <a:t>Allergan</a:t>
            </a:r>
            <a:r>
              <a:rPr lang="cs-CZ" sz="1600" b="1" dirty="0"/>
              <a:t> (IRL) (2016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160 </a:t>
            </a:r>
            <a:r>
              <a:rPr lang="cs-CZ" sz="1400" dirty="0" err="1"/>
              <a:t>mld</a:t>
            </a:r>
            <a:r>
              <a:rPr lang="cs-CZ" sz="1400" dirty="0"/>
              <a:t> USD transakce – strukturována s plánem přesunout sídlo </a:t>
            </a:r>
            <a:r>
              <a:rPr lang="cs-CZ" sz="1400" dirty="0" err="1"/>
              <a:t>Pfizeru</a:t>
            </a:r>
            <a:r>
              <a:rPr lang="cs-CZ" sz="1400" dirty="0"/>
              <a:t> z USA (35% tax) do IRL (12,5% tax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během M&amp;A procesu: zavedení přísnějších pravidel pro změnu daňových sídel mimo USA (daňová inverz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ukončení transakce - pokles ceny akcií </a:t>
            </a:r>
            <a:r>
              <a:rPr lang="cs-CZ" sz="1400" dirty="0" err="1"/>
              <a:t>Allerganu</a:t>
            </a:r>
            <a:r>
              <a:rPr lang="cs-CZ" sz="1400" dirty="0"/>
              <a:t> o 22%, kompenzace ze strany </a:t>
            </a:r>
            <a:r>
              <a:rPr lang="cs-CZ" sz="1400" dirty="0" err="1"/>
              <a:t>Pfizeru</a:t>
            </a:r>
            <a:r>
              <a:rPr lang="cs-CZ" sz="1400" dirty="0"/>
              <a:t> 150 mil USD</a:t>
            </a:r>
          </a:p>
          <a:p>
            <a:pPr marL="285750" indent="-285750">
              <a:buFontTx/>
              <a:buChar char="-"/>
            </a:pPr>
            <a:endParaRPr lang="cs-CZ" sz="1600" dirty="0"/>
          </a:p>
          <a:p>
            <a:endParaRPr lang="cs-CZ" sz="1600" dirty="0"/>
          </a:p>
          <a:p>
            <a:endParaRPr lang="cs-CZ" sz="1600" dirty="0"/>
          </a:p>
          <a:p>
            <a:endParaRPr lang="cs-CZ" sz="1600" dirty="0"/>
          </a:p>
        </p:txBody>
      </p:sp>
      <p:sp>
        <p:nvSpPr>
          <p:cNvPr id="6" name="Text Placeholder 11"/>
          <p:cNvSpPr txBox="1">
            <a:spLocks/>
          </p:cNvSpPr>
          <p:nvPr/>
        </p:nvSpPr>
        <p:spPr>
          <a:xfrm>
            <a:off x="372924" y="6303944"/>
            <a:ext cx="8485356" cy="21268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spcBef>
                <a:spcPts val="1200"/>
              </a:spcBef>
              <a:defRPr/>
            </a:pPr>
            <a:r>
              <a:rPr lang="en-GB" sz="700" kern="0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ource: </a:t>
            </a:r>
            <a:r>
              <a:rPr lang="en-US" sz="700" kern="0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Deloitte analysis based on data from Thomson Reuters</a:t>
            </a:r>
            <a:endParaRPr lang="en-GB" sz="700" kern="0" dirty="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9058329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6BC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cs-CZ" sz="4800" dirty="0"/>
              <a:t>4. M&amp;A proces</a:t>
            </a:r>
          </a:p>
        </p:txBody>
      </p:sp>
    </p:spTree>
    <p:extLst>
      <p:ext uri="{BB962C8B-B14F-4D97-AF65-F5344CB8AC3E}">
        <p14:creationId xmlns:p14="http://schemas.microsoft.com/office/powerpoint/2010/main" val="2780049605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 err="1"/>
              <a:t>Negotiated</a:t>
            </a:r>
            <a:r>
              <a:rPr lang="cs-CZ" dirty="0"/>
              <a:t> </a:t>
            </a:r>
            <a:r>
              <a:rPr lang="cs-CZ" dirty="0" err="1"/>
              <a:t>Deal</a:t>
            </a:r>
            <a:endParaRPr lang="cs-CZ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/>
              <a:t>Průběh </a:t>
            </a:r>
            <a:r>
              <a:rPr lang="cs-CZ" b="1" dirty="0" err="1"/>
              <a:t>M&amp;A</a:t>
            </a:r>
            <a:r>
              <a:rPr lang="cs-CZ" b="1" dirty="0"/>
              <a:t> transakce</a:t>
            </a:r>
          </a:p>
        </p:txBody>
      </p:sp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528024552"/>
              </p:ext>
            </p:extLst>
          </p:nvPr>
        </p:nvGraphicFramePr>
        <p:xfrm>
          <a:off x="358775" y="1408855"/>
          <a:ext cx="8389225" cy="49347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990580145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 err="1"/>
              <a:t>Auction</a:t>
            </a:r>
            <a:endParaRPr lang="cs-CZ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/>
              <a:t>Průběh </a:t>
            </a:r>
            <a:r>
              <a:rPr lang="cs-CZ" b="1" dirty="0" err="1"/>
              <a:t>M&amp;A</a:t>
            </a:r>
            <a:r>
              <a:rPr lang="cs-CZ" b="1" dirty="0"/>
              <a:t> transakce</a:t>
            </a:r>
          </a:p>
        </p:txBody>
      </p:sp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3366569979"/>
              </p:ext>
            </p:extLst>
          </p:nvPr>
        </p:nvGraphicFramePr>
        <p:xfrm>
          <a:off x="362422" y="1251226"/>
          <a:ext cx="8385578" cy="5461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641107229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/>
              <a:t>O</a:t>
            </a:r>
            <a:r>
              <a:rPr lang="cs-CZ" b="1" dirty="0"/>
              <a:t>rganizace předmětu  -  úvo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cs-CZ" sz="1400" b="1" dirty="0"/>
              <a:t>Představení přednášejících </a:t>
            </a:r>
          </a:p>
          <a:p>
            <a:pPr lvl="2"/>
            <a:r>
              <a:rPr lang="cs-CZ" sz="1400" dirty="0"/>
              <a:t>JUDr. Ivan </a:t>
            </a:r>
            <a:r>
              <a:rPr lang="cs-CZ" sz="1400" dirty="0" err="1"/>
              <a:t>Telecký</a:t>
            </a:r>
            <a:endParaRPr lang="cs-CZ" sz="1400" dirty="0"/>
          </a:p>
          <a:p>
            <a:pPr lvl="2"/>
            <a:r>
              <a:rPr lang="cs-CZ" sz="1400" dirty="0"/>
              <a:t>Mgr. Petr Suchý</a:t>
            </a:r>
          </a:p>
          <a:p>
            <a:pPr lvl="1">
              <a:spcBef>
                <a:spcPts val="1200"/>
              </a:spcBef>
              <a:spcAft>
                <a:spcPts val="600"/>
              </a:spcAft>
            </a:pPr>
            <a:r>
              <a:rPr lang="cs-CZ" sz="1400" b="1" dirty="0"/>
              <a:t>Informace o předmětu</a:t>
            </a:r>
          </a:p>
          <a:p>
            <a:pPr lvl="2">
              <a:spcBef>
                <a:spcPts val="1200"/>
              </a:spcBef>
              <a:spcAft>
                <a:spcPts val="600"/>
              </a:spcAft>
            </a:pPr>
            <a:r>
              <a:rPr lang="cs-CZ" sz="1400" dirty="0"/>
              <a:t>rozvrh </a:t>
            </a:r>
          </a:p>
          <a:p>
            <a:pPr lvl="2">
              <a:spcBef>
                <a:spcPts val="1200"/>
              </a:spcBef>
              <a:spcAft>
                <a:spcPts val="600"/>
              </a:spcAft>
            </a:pPr>
            <a:r>
              <a:rPr lang="cs-CZ" sz="1400" dirty="0"/>
              <a:t>účast, příprava na semináře, podmínky získání zápočtu</a:t>
            </a:r>
          </a:p>
          <a:p>
            <a:pPr lvl="2">
              <a:spcBef>
                <a:spcPts val="1200"/>
              </a:spcBef>
              <a:spcAft>
                <a:spcPts val="600"/>
              </a:spcAft>
            </a:pPr>
            <a:r>
              <a:rPr lang="cs-CZ" sz="1400" dirty="0"/>
              <a:t>prameny a studijní materiály</a:t>
            </a:r>
          </a:p>
          <a:p>
            <a:pPr marL="337525" lvl="3" indent="0">
              <a:buNone/>
            </a:pPr>
            <a:endParaRPr lang="cs-CZ" sz="14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0024" y="296863"/>
            <a:ext cx="1815647" cy="234966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9455" y="4182244"/>
            <a:ext cx="3299258" cy="2199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5794242"/>
      </p:ext>
    </p:extLst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/>
              <a:t>Oceňování společností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Výnosové ocenění (diskontované peněžní tok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EBITDA násobek</a:t>
            </a:r>
          </a:p>
          <a:p>
            <a:pPr marL="465750" lvl="1" indent="-285750"/>
            <a:r>
              <a:rPr lang="cs-CZ" sz="1800" dirty="0"/>
              <a:t>Společnost A – znám cenu 100% akcií (x) a EBITDA (y)</a:t>
            </a:r>
          </a:p>
          <a:p>
            <a:pPr marL="465750" lvl="1" indent="-285750"/>
            <a:r>
              <a:rPr lang="cs-CZ" sz="1800" dirty="0"/>
              <a:t>Target – znám její EBITDA (z); x/y*z = cen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 err="1"/>
              <a:t>Enterprise</a:t>
            </a:r>
            <a:r>
              <a:rPr lang="cs-CZ" sz="1800" dirty="0"/>
              <a:t> </a:t>
            </a:r>
            <a:r>
              <a:rPr lang="cs-CZ" sz="1800" dirty="0" err="1"/>
              <a:t>Value</a:t>
            </a:r>
            <a:r>
              <a:rPr lang="cs-CZ" sz="1800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Čistý dluh (</a:t>
            </a:r>
            <a:r>
              <a:rPr lang="en-US" sz="1800" dirty="0"/>
              <a:t>Net debt</a:t>
            </a:r>
            <a:r>
              <a:rPr lang="cs-CZ" sz="1800" dirty="0"/>
              <a:t>)</a:t>
            </a:r>
            <a:r>
              <a:rPr lang="en-US" sz="1800" dirty="0"/>
              <a:t> </a:t>
            </a:r>
            <a:r>
              <a:rPr lang="cs-CZ" sz="1800" dirty="0"/>
              <a:t>= </a:t>
            </a:r>
            <a:r>
              <a:rPr lang="en-US" sz="1800" dirty="0"/>
              <a:t>total debt – cash</a:t>
            </a:r>
            <a:endParaRPr lang="cs-CZ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 err="1"/>
              <a:t>Equity</a:t>
            </a:r>
            <a:r>
              <a:rPr lang="cs-CZ" sz="1800" dirty="0"/>
              <a:t> </a:t>
            </a:r>
            <a:r>
              <a:rPr lang="cs-CZ" sz="1800" dirty="0" err="1"/>
              <a:t>Value</a:t>
            </a:r>
            <a:r>
              <a:rPr lang="cs-CZ" sz="1800" dirty="0"/>
              <a:t> (</a:t>
            </a:r>
            <a:r>
              <a:rPr lang="cs-CZ" sz="1800" dirty="0" err="1"/>
              <a:t>Enterprise</a:t>
            </a:r>
            <a:r>
              <a:rPr lang="cs-CZ" sz="1800" dirty="0"/>
              <a:t> </a:t>
            </a:r>
            <a:r>
              <a:rPr lang="cs-CZ" sz="1800" dirty="0" err="1"/>
              <a:t>Value</a:t>
            </a:r>
            <a:r>
              <a:rPr lang="cs-CZ" sz="1800" dirty="0"/>
              <a:t> – </a:t>
            </a:r>
            <a:r>
              <a:rPr lang="cs-CZ" sz="1800" dirty="0" err="1"/>
              <a:t>debt</a:t>
            </a:r>
            <a:r>
              <a:rPr lang="cs-CZ" sz="1800" dirty="0"/>
              <a:t> + cash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cs-CZ" sz="1800" dirty="0"/>
          </a:p>
        </p:txBody>
      </p:sp>
    </p:spTree>
    <p:extLst>
      <p:ext uri="{BB962C8B-B14F-4D97-AF65-F5344CB8AC3E}">
        <p14:creationId xmlns:p14="http://schemas.microsoft.com/office/powerpoint/2010/main" val="1229496291"/>
      </p:ext>
    </p:extLst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6BC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14523552-93F2-F0CB-04A3-BCA5DD87EA8C}"/>
              </a:ext>
            </a:extLst>
          </p:cNvPr>
          <p:cNvSpPr txBox="1">
            <a:spLocks/>
          </p:cNvSpPr>
          <p:nvPr/>
        </p:nvSpPr>
        <p:spPr bwMode="gray">
          <a:xfrm>
            <a:off x="528638" y="1858069"/>
            <a:ext cx="7905750" cy="15924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850" b="1" kern="12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r>
              <a:rPr lang="cs-CZ"/>
              <a:t>Zadání samostatné domácí prá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5094422"/>
      </p:ext>
    </p:extLst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cs-CZ" sz="2000" b="1" dirty="0"/>
              <a:t>Zadání samostatné práce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lvl="1" indent="-285750"/>
            <a:r>
              <a:rPr lang="cs-CZ" sz="1600" dirty="0"/>
              <a:t>písemná esej (vlastní úvaha na zadané téma)</a:t>
            </a:r>
          </a:p>
          <a:p>
            <a:pPr marL="285750" lvl="1" indent="-285750"/>
            <a:r>
              <a:rPr lang="cs-CZ" sz="1600" dirty="0"/>
              <a:t>úkol: vyberte si jednu ze dvou transakcí: </a:t>
            </a:r>
            <a:r>
              <a:rPr lang="cs-CZ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escan</a:t>
            </a:r>
            <a:r>
              <a:rPr lang="cs-CZ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nebo </a:t>
            </a:r>
            <a:r>
              <a:rPr lang="cs-CZ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opta</a:t>
            </a:r>
            <a:endParaRPr lang="cs-CZ" sz="18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285750" lvl="1" indent="-285750"/>
            <a:r>
              <a:rPr lang="cs-CZ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Z veřejných zdrojů zjistěte co nejvíc informací o vybrané transakci a uveďte je v následující struktuře :</a:t>
            </a: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cs-CZ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Strany obchodu: Prodávající a Kupující</a:t>
            </a:r>
            <a:endParaRPr lang="cs-CZ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cs-CZ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Hodnota transakce </a:t>
            </a:r>
            <a:endParaRPr lang="cs-CZ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cs-CZ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Motivace stran: motivace prodávajících a motivace kupujících</a:t>
            </a:r>
            <a:endParaRPr lang="cs-CZ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cs-CZ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oradci na transakci</a:t>
            </a:r>
            <a:endParaRPr lang="cs-CZ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cs-CZ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Banky a financování</a:t>
            </a:r>
            <a:endParaRPr lang="cs-CZ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cs-CZ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losing</a:t>
            </a:r>
            <a:r>
              <a:rPr lang="cs-CZ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, </a:t>
            </a:r>
            <a:r>
              <a:rPr lang="cs-CZ" dirty="0" err="1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postclosing</a:t>
            </a:r>
            <a:r>
              <a:rPr lang="cs-CZ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 (změny v orgánech apod.)</a:t>
            </a:r>
            <a:endParaRPr lang="cs-CZ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285750" lvl="1" indent="-285750"/>
            <a:r>
              <a:rPr lang="cs-CZ" sz="1600" dirty="0"/>
              <a:t>rozsah: cca 2 normostrany</a:t>
            </a:r>
          </a:p>
          <a:p>
            <a:pPr marL="357188" lvl="1" indent="-357188"/>
            <a:r>
              <a:rPr lang="cs-CZ" sz="1600" dirty="0"/>
              <a:t>struktura: jméno a datum, úvod, hlavní část, závěr, zdroje, příp. použitá literatura</a:t>
            </a:r>
          </a:p>
          <a:p>
            <a:pPr marL="357188" lvl="1" indent="-357188"/>
            <a:r>
              <a:rPr lang="cs-CZ" sz="1600" dirty="0"/>
              <a:t>termín odevzdání: nejpozději </a:t>
            </a:r>
            <a:r>
              <a:rPr lang="cs-CZ" sz="1600" b="1" u="sng" dirty="0"/>
              <a:t>v pátek večer před následujícím seminářem</a:t>
            </a:r>
            <a:r>
              <a:rPr lang="cs-CZ" sz="1600" b="1" dirty="0">
                <a:solidFill>
                  <a:srgbClr val="86BC25"/>
                </a:solidFill>
              </a:rPr>
              <a:t> </a:t>
            </a:r>
            <a:r>
              <a:rPr lang="cs-CZ" sz="1600" dirty="0"/>
              <a:t>zaslat vypracovaný úkol emailem </a:t>
            </a:r>
            <a:r>
              <a:rPr lang="cs-CZ" sz="1800" dirty="0"/>
              <a:t>(</a:t>
            </a:r>
            <a:r>
              <a:rPr lang="cs-CZ" sz="1600" dirty="0"/>
              <a:t>PŘEDMĚT emailu: Volitelný předmět Fúze a akvizice, TO: </a:t>
            </a:r>
            <a:r>
              <a:rPr lang="cs-CZ" sz="1600" dirty="0">
                <a:hlinkClick r:id="rId2"/>
              </a:rPr>
              <a:t>psuchy@deloitteCE.com</a:t>
            </a:r>
            <a:r>
              <a:rPr lang="cs-CZ" sz="1600" dirty="0"/>
              <a:t>; </a:t>
            </a:r>
            <a:r>
              <a:rPr lang="cs-CZ" sz="1600" dirty="0" err="1">
                <a:hlinkClick r:id="rId3"/>
              </a:rPr>
              <a:t>ivan@telecky.legal</a:t>
            </a:r>
            <a:r>
              <a:rPr lang="cs-CZ" sz="1800" dirty="0"/>
              <a:t>)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774286-9D9E-4105-93C3-4FB4A8D0D15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84468438"/>
      </p:ext>
    </p:extLst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6BC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1705669"/>
            <a:ext cx="7905750" cy="2054733"/>
          </a:xfrm>
        </p:spPr>
        <p:txBody>
          <a:bodyPr/>
          <a:lstStyle/>
          <a:p>
            <a:pPr algn="ctr"/>
            <a:r>
              <a:rPr lang="cs-CZ" sz="4800" dirty="0"/>
              <a:t>Děkujeme za pozornost.</a:t>
            </a:r>
          </a:p>
        </p:txBody>
      </p:sp>
    </p:spTree>
    <p:extLst>
      <p:ext uri="{BB962C8B-B14F-4D97-AF65-F5344CB8AC3E}">
        <p14:creationId xmlns:p14="http://schemas.microsoft.com/office/powerpoint/2010/main" val="2255567566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/>
              <a:t>O</a:t>
            </a:r>
            <a:r>
              <a:rPr lang="cs-CZ" b="1" dirty="0"/>
              <a:t>rganizace předmětu</a:t>
            </a:r>
            <a:r>
              <a:rPr lang="cs-CZ" sz="1900" b="1" dirty="0"/>
              <a:t>  -  přednášející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01073" y="1665288"/>
            <a:ext cx="5995686" cy="1763712"/>
          </a:xfrm>
        </p:spPr>
        <p:txBody>
          <a:bodyPr/>
          <a:lstStyle/>
          <a:p>
            <a:pPr>
              <a:spcAft>
                <a:spcPts val="400"/>
              </a:spcAft>
            </a:pPr>
            <a:r>
              <a:rPr lang="cs-CZ" sz="1400" b="1" dirty="0"/>
              <a:t>JUDr. Ivan </a:t>
            </a:r>
            <a:r>
              <a:rPr lang="cs-CZ" sz="1400" b="1" dirty="0" err="1"/>
              <a:t>Telecký</a:t>
            </a:r>
            <a:r>
              <a:rPr lang="cs-CZ" sz="1400" b="1" dirty="0"/>
              <a:t>, Ph.D.</a:t>
            </a:r>
          </a:p>
          <a:p>
            <a:pPr>
              <a:spcAft>
                <a:spcPts val="400"/>
              </a:spcAft>
            </a:pPr>
            <a:r>
              <a:rPr lang="cs-CZ" sz="1100" dirty="0"/>
              <a:t>Ivan je advokátem s bohatou zkušeností s obchodními transakcemi, včetně projektů  mezinárodního charakteru. Dříve spolupracoval s Deloitte Legal a </a:t>
            </a:r>
            <a:r>
              <a:rPr lang="cs-CZ" sz="1100" dirty="0" err="1"/>
              <a:t>Wilsons</a:t>
            </a:r>
            <a:r>
              <a:rPr lang="cs-CZ" sz="1100" dirty="0"/>
              <a:t>. Začínal v Allen &amp; </a:t>
            </a:r>
            <a:r>
              <a:rPr lang="cs-CZ" sz="1100" dirty="0" err="1"/>
              <a:t>Overy</a:t>
            </a:r>
            <a:r>
              <a:rPr lang="cs-CZ" sz="1100" dirty="0"/>
              <a:t>, kde nyní opět částečně působí jako </a:t>
            </a:r>
            <a:r>
              <a:rPr lang="cs-CZ" sz="1100" dirty="0" err="1"/>
              <a:t>counsel</a:t>
            </a:r>
            <a:r>
              <a:rPr lang="cs-CZ" sz="1100" dirty="0"/>
              <a:t> pro oblast </a:t>
            </a:r>
            <a:r>
              <a:rPr lang="cs-CZ" sz="1100" dirty="0" err="1"/>
              <a:t>real</a:t>
            </a:r>
            <a:r>
              <a:rPr lang="cs-CZ" sz="1100" dirty="0"/>
              <a:t> </a:t>
            </a:r>
            <a:r>
              <a:rPr lang="cs-CZ" sz="1100" dirty="0" err="1"/>
              <a:t>estate</a:t>
            </a:r>
            <a:r>
              <a:rPr lang="cs-CZ" sz="1100" dirty="0"/>
              <a:t>. </a:t>
            </a:r>
          </a:p>
          <a:p>
            <a:pPr>
              <a:spcAft>
                <a:spcPts val="400"/>
              </a:spcAft>
            </a:pPr>
            <a:r>
              <a:rPr lang="cs-CZ" sz="1100" dirty="0"/>
              <a:t>Ivan se převážně specializuje na komplexní projekty a vyjednávání obchodních transakcí. Ivan má 20 letou praxi z mezinárodních advokátních kancelářích v Praze, Bratislavě a Londýně. </a:t>
            </a:r>
          </a:p>
          <a:p>
            <a:pPr>
              <a:spcAft>
                <a:spcPts val="400"/>
              </a:spcAft>
            </a:pPr>
            <a:r>
              <a:rPr lang="cs-CZ" sz="1100" dirty="0"/>
              <a:t>Ivan se zaměřuje především na vyjednávání smluv, řešení sporů a vytváření obchodních partnerství. </a:t>
            </a:r>
          </a:p>
        </p:txBody>
      </p:sp>
      <p:sp>
        <p:nvSpPr>
          <p:cNvPr id="5" name="Content Placeholder 2"/>
          <p:cNvSpPr txBox="1">
            <a:spLocks/>
          </p:cNvSpPr>
          <p:nvPr/>
        </p:nvSpPr>
        <p:spPr bwMode="auto">
          <a:xfrm>
            <a:off x="376239" y="1665288"/>
            <a:ext cx="2345696" cy="4716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ct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Char char="•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80000" algn="l" rtl="0" eaLnBrk="1" fontAlgn="base" hangingPunct="1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525" indent="-180000" algn="l" rtl="0" eaLnBrk="1" fontAlgn="base" hangingPunct="1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90563" indent="-180000" algn="l" defTabSz="798513" rtl="0" eaLnBrk="1" fontAlgn="base" hangingPunct="1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cs-CZ" sz="1800" dirty="0"/>
          </a:p>
          <a:p>
            <a:endParaRPr lang="cs-CZ" sz="1800" dirty="0"/>
          </a:p>
          <a:p>
            <a:endParaRPr lang="cs-CZ" sz="1800" dirty="0"/>
          </a:p>
          <a:p>
            <a:endParaRPr lang="cs-CZ" sz="1050" dirty="0"/>
          </a:p>
          <a:p>
            <a:r>
              <a:rPr lang="cs-CZ" sz="1100" dirty="0" err="1"/>
              <a:t>ivan@telecky</a:t>
            </a:r>
            <a:r>
              <a:rPr lang="en-US" sz="1100" dirty="0"/>
              <a:t>.</a:t>
            </a:r>
            <a:r>
              <a:rPr lang="cs-CZ" sz="1100" dirty="0" err="1"/>
              <a:t>legal</a:t>
            </a:r>
            <a:endParaRPr lang="cs-CZ" sz="1100" dirty="0"/>
          </a:p>
          <a:p>
            <a:endParaRPr lang="cs-CZ" sz="1800" dirty="0"/>
          </a:p>
          <a:p>
            <a:endParaRPr lang="cs-CZ" sz="1800" dirty="0"/>
          </a:p>
          <a:p>
            <a:endParaRPr lang="cs-CZ" sz="1800" dirty="0"/>
          </a:p>
          <a:p>
            <a:endParaRPr lang="cs-CZ" sz="1800" dirty="0"/>
          </a:p>
          <a:p>
            <a:endParaRPr lang="cs-CZ" sz="1800" dirty="0"/>
          </a:p>
          <a:p>
            <a:r>
              <a:rPr lang="en-US" sz="1100" dirty="0"/>
              <a:t>psuchy@deloitteCE.com</a:t>
            </a:r>
            <a:endParaRPr lang="cs-CZ" sz="1100" dirty="0"/>
          </a:p>
        </p:txBody>
      </p:sp>
      <p:pic>
        <p:nvPicPr>
          <p:cNvPr id="6" name="Picture Placeholder 2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495" y="1742956"/>
            <a:ext cx="2290132" cy="1374854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 bwMode="gray">
          <a:xfrm>
            <a:off x="358775" y="1667720"/>
            <a:ext cx="2291852" cy="75236"/>
          </a:xfrm>
          <a:prstGeom prst="rect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9" name="Rectangle 8"/>
          <p:cNvSpPr/>
          <p:nvPr/>
        </p:nvSpPr>
        <p:spPr bwMode="gray">
          <a:xfrm>
            <a:off x="358775" y="3991842"/>
            <a:ext cx="2291852" cy="75236"/>
          </a:xfrm>
          <a:prstGeom prst="rect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pic>
        <p:nvPicPr>
          <p:cNvPr id="13" name="Picture 12" descr="A person with a beard&#10;&#10;Description automatically generated with medium confidence">
            <a:extLst>
              <a:ext uri="{FF2B5EF4-FFF2-40B4-BE49-F238E27FC236}">
                <a16:creationId xmlns:a16="http://schemas.microsoft.com/office/drawing/2014/main" id="{74632125-D1A9-4A87-B511-673048BA2A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6589" y="4064548"/>
            <a:ext cx="2290132" cy="1287247"/>
          </a:xfrm>
          <a:prstGeom prst="rect">
            <a:avLst/>
          </a:prstGeom>
        </p:spPr>
      </p:pic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A785E32-08FA-43F4-8492-20ACC6BE63FC}"/>
              </a:ext>
            </a:extLst>
          </p:cNvPr>
          <p:cNvSpPr txBox="1">
            <a:spLocks/>
          </p:cNvSpPr>
          <p:nvPr/>
        </p:nvSpPr>
        <p:spPr bwMode="auto">
          <a:xfrm>
            <a:off x="2801073" y="3991842"/>
            <a:ext cx="5995686" cy="4716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ct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Char char="•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80000" algn="l" rtl="0" eaLnBrk="1" fontAlgn="base" hangingPunct="1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525" indent="-180000" algn="l" rtl="0" eaLnBrk="1" fontAlgn="base" hangingPunct="1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90563" indent="-180000" algn="l" defTabSz="798513" rtl="0" eaLnBrk="1" fontAlgn="base" hangingPunct="1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400"/>
              </a:spcAft>
            </a:pPr>
            <a:r>
              <a:rPr lang="cs-CZ" sz="1400" b="1" dirty="0"/>
              <a:t>Mgr. Petr Suchý</a:t>
            </a:r>
          </a:p>
          <a:p>
            <a:pPr>
              <a:spcAft>
                <a:spcPts val="400"/>
              </a:spcAft>
            </a:pPr>
            <a:r>
              <a:rPr lang="cs-CZ" sz="1100" dirty="0"/>
              <a:t>Petr je Partnerem v Deloitte Legal v Praze. Vede oddělení fúzí a akvizic a současně se podílí na vedení týmu pro insolvence a restrukturalizace. Svou profesní dráhu zahájil v roce 1997 a v Deloitte působí od roku 2003. Jeho specializací je korporátní právo, zejména fúze a akvizice a restrukturalizace obchodních společností. Problematiku fúzí a akvizic přednáší na právnických fakultách Univerzity Karlovy v Praze a Masarykovy univerzity v Brně. </a:t>
            </a:r>
          </a:p>
          <a:p>
            <a:pPr>
              <a:spcAft>
                <a:spcPts val="400"/>
              </a:spcAft>
            </a:pPr>
            <a:r>
              <a:rPr lang="cs-CZ" sz="1100" dirty="0"/>
              <a:t>V rámci globální sítě advokátních kanceláří Deloitte Legal je Petr členem Výboru pro korporátní právo, fúze a akvizice Deloitte Legal EMEA a vedoucím expertní skupiny pro fúze a akvizice Deloitte Legal Central </a:t>
            </a:r>
            <a:r>
              <a:rPr lang="cs-CZ" sz="1100" dirty="0" err="1"/>
              <a:t>Europe</a:t>
            </a:r>
            <a:r>
              <a:rPr lang="cs-CZ" sz="1100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4115081266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 wrap="square" anchor="t">
            <a:normAutofit/>
          </a:bodyPr>
          <a:lstStyle/>
          <a:p>
            <a:r>
              <a:rPr lang="cs-CZ" b="1"/>
              <a:t>Organizace předmětu – rozvrh</a:t>
            </a: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C45A6122-F0C0-25B9-13CF-7B1E40763F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5400000">
            <a:off x="1891392" y="-717428"/>
            <a:ext cx="5352732" cy="8287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559708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		</a:t>
            </a:r>
            <a:endParaRPr lang="cs-CZ" b="1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/>
              <a:t>Organizace předmětu – podmínky zápočtu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cs-CZ" sz="1400" b="1" dirty="0"/>
              <a:t>Podmínky zápočtu</a:t>
            </a:r>
          </a:p>
          <a:p>
            <a:pPr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b="1" dirty="0"/>
              <a:t>Účast:</a:t>
            </a:r>
            <a:r>
              <a:rPr lang="cs-CZ" dirty="0"/>
              <a:t> &gt; 50%</a:t>
            </a:r>
          </a:p>
          <a:p>
            <a:pPr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b="1" dirty="0"/>
              <a:t>Samostatná práce:</a:t>
            </a:r>
            <a:r>
              <a:rPr lang="cs-CZ" dirty="0"/>
              <a:t> </a:t>
            </a:r>
          </a:p>
          <a:p>
            <a:pPr lvl="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/>
              <a:t>Krátká esej (úvaha) na zadané téma (4-5 témat během semestru)</a:t>
            </a:r>
          </a:p>
          <a:p>
            <a:pPr lvl="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/>
              <a:t>Úkol odevzdaný řádně, včas a v požadované formě</a:t>
            </a:r>
          </a:p>
          <a:p>
            <a:pPr lvl="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/>
              <a:t>Max. 2 normostrany</a:t>
            </a:r>
          </a:p>
          <a:p>
            <a:pPr lvl="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/>
              <a:t>Obsahem vlastní úvaha na zadané téma, včetně úvodu, hlavní části, závěru a případně použité literatury či jiných zdrojů</a:t>
            </a:r>
          </a:p>
          <a:p>
            <a:pPr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b="1" dirty="0"/>
              <a:t>Písemný test</a:t>
            </a:r>
            <a:endParaRPr lang="cs-CZ" dirty="0"/>
          </a:p>
          <a:p>
            <a:pPr lvl="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/>
              <a:t>Podmínkou pro připuštění k testu je nadpoloviční účast na přednáškách a odevzdaná samostatná práce hodnocená jako vyhovující</a:t>
            </a:r>
          </a:p>
          <a:p>
            <a:pPr lvl="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/>
              <a:t>Řádný termín testu v rámci posledního semináře dle rozpisu výuky, popř. jeden opravný termín</a:t>
            </a:r>
          </a:p>
          <a:p>
            <a:pPr lvl="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/>
              <a:t>Test je online, délka 30 minut</a:t>
            </a:r>
          </a:p>
          <a:p>
            <a:pPr lvl="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/>
              <a:t>30 otázek </a:t>
            </a:r>
            <a:r>
              <a:rPr lang="cs-CZ" sz="1200" dirty="0"/>
              <a:t>s variantami odpovědi ano-ne, za každou správnou odpověď je 1 bod</a:t>
            </a:r>
            <a:endParaRPr lang="cs-CZ" dirty="0"/>
          </a:p>
          <a:p>
            <a:pPr lvl="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/>
              <a:t>Požadované minimum pro složení zkoušky je dosažení alespoň 20 správných odpovědí (bodů) z celkem 30</a:t>
            </a:r>
          </a:p>
          <a:p>
            <a:pPr lvl="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/>
              <a:t>Užívání studijních materiálů, literatury ani právních předpisů při vyplnění testu není povoleno</a:t>
            </a:r>
          </a:p>
          <a:p>
            <a:pPr lvl="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/>
              <a:t>Případný opravný termín bude vypsán pouze pro studenty, kteří se z vážných důvodů sdělených předem nemohli účastnit řádného termínu, nebo kteří v řádném termínu test odevzdali a neprospěli</a:t>
            </a:r>
          </a:p>
          <a:p>
            <a:pPr lvl="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/>
              <a:t>Test je možno vyplnit ve stejném termínu distančně</a:t>
            </a:r>
          </a:p>
          <a:p>
            <a:endParaRPr lang="cs-CZ" sz="300" dirty="0"/>
          </a:p>
          <a:p>
            <a:pPr marL="359388" lvl="1" indent="-179388"/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882073928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/>
              <a:t>O</a:t>
            </a:r>
            <a:r>
              <a:rPr lang="cs-CZ" b="1" dirty="0"/>
              <a:t>rganizace předmětu</a:t>
            </a:r>
            <a:r>
              <a:rPr lang="cs-CZ" sz="1900" b="1" dirty="0"/>
              <a:t> – prameny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cs-CZ" sz="1400" b="1" dirty="0"/>
              <a:t>Literatura: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cs-CZ" dirty="0"/>
              <a:t>Smrčka, L.: Ovládnutí a převzetí firem, Praha: C.H. Beck, 2013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cs-CZ" dirty="0"/>
              <a:t>Sádovský, S.: Právní </a:t>
            </a:r>
            <a:r>
              <a:rPr lang="cs-CZ" dirty="0" err="1"/>
              <a:t>due</a:t>
            </a:r>
            <a:r>
              <a:rPr lang="cs-CZ" dirty="0"/>
              <a:t> diligence při fúzi (akvizici) s důrazem na případné získání dominantního postavení na trhu, Ostrava: </a:t>
            </a:r>
            <a:r>
              <a:rPr lang="cs-CZ" dirty="0" err="1"/>
              <a:t>Key</a:t>
            </a:r>
            <a:r>
              <a:rPr lang="cs-CZ" dirty="0"/>
              <a:t> </a:t>
            </a:r>
            <a:r>
              <a:rPr lang="cs-CZ" dirty="0" err="1"/>
              <a:t>Publishing</a:t>
            </a:r>
            <a:r>
              <a:rPr lang="cs-CZ" dirty="0"/>
              <a:t>, 2009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cs-CZ" dirty="0"/>
              <a:t>Deloitte Legal: </a:t>
            </a:r>
            <a:r>
              <a:rPr lang="cs-CZ" dirty="0" err="1"/>
              <a:t>Dealmaking</a:t>
            </a:r>
            <a:r>
              <a:rPr lang="cs-CZ" dirty="0"/>
              <a:t> in Central </a:t>
            </a:r>
            <a:r>
              <a:rPr lang="cs-CZ" dirty="0" err="1"/>
              <a:t>Europe</a:t>
            </a:r>
            <a:r>
              <a:rPr lang="cs-CZ" dirty="0"/>
              <a:t> - A </a:t>
            </a:r>
            <a:r>
              <a:rPr lang="cs-CZ" dirty="0" err="1"/>
              <a:t>closer</a:t>
            </a:r>
            <a:r>
              <a:rPr lang="cs-CZ" dirty="0"/>
              <a:t> </a:t>
            </a:r>
            <a:r>
              <a:rPr lang="cs-CZ" dirty="0" err="1"/>
              <a:t>look</a:t>
            </a:r>
            <a:r>
              <a:rPr lang="cs-CZ" dirty="0"/>
              <a:t> </a:t>
            </a:r>
            <a:r>
              <a:rPr lang="cs-CZ" dirty="0" err="1"/>
              <a:t>at</a:t>
            </a:r>
            <a:r>
              <a:rPr lang="cs-CZ" dirty="0"/>
              <a:t> </a:t>
            </a:r>
            <a:r>
              <a:rPr lang="cs-CZ" dirty="0" err="1"/>
              <a:t>Share</a:t>
            </a:r>
            <a:r>
              <a:rPr lang="cs-CZ" dirty="0"/>
              <a:t> </a:t>
            </a:r>
            <a:r>
              <a:rPr lang="cs-CZ" dirty="0" err="1"/>
              <a:t>Purchase</a:t>
            </a:r>
            <a:r>
              <a:rPr lang="cs-CZ" dirty="0"/>
              <a:t> </a:t>
            </a:r>
            <a:r>
              <a:rPr lang="cs-CZ" dirty="0" err="1"/>
              <a:t>Agreements</a:t>
            </a:r>
            <a:r>
              <a:rPr lang="cs-CZ" dirty="0"/>
              <a:t>: </a:t>
            </a:r>
            <a:r>
              <a:rPr lang="cs-CZ" dirty="0">
                <a:hlinkClick r:id="rId2"/>
              </a:rPr>
              <a:t>https://www2.deloitte.com/ce/en/pages/about-deloitte/articles/dealmaking-in-central-europe.html</a:t>
            </a:r>
            <a:r>
              <a:rPr lang="cs-CZ" dirty="0"/>
              <a:t>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cs-CZ" dirty="0"/>
              <a:t>Černá, S., Štenglová I., Pelikánová I. a kol.: Právo obchodních korporací. 1. vyd. Praha: </a:t>
            </a:r>
            <a:r>
              <a:rPr lang="cs-CZ" dirty="0" err="1"/>
              <a:t>Wolters</a:t>
            </a:r>
            <a:r>
              <a:rPr lang="cs-CZ" dirty="0"/>
              <a:t> </a:t>
            </a:r>
            <a:r>
              <a:rPr lang="cs-CZ" dirty="0" err="1"/>
              <a:t>Kluwer</a:t>
            </a:r>
            <a:r>
              <a:rPr lang="cs-CZ" dirty="0"/>
              <a:t>, 2015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cs-CZ" dirty="0"/>
              <a:t>Dvořák, T.: Přeměny obchodních korporací, Praha: </a:t>
            </a:r>
            <a:r>
              <a:rPr lang="cs-CZ" dirty="0" err="1"/>
              <a:t>Wolters</a:t>
            </a:r>
            <a:r>
              <a:rPr lang="cs-CZ" dirty="0"/>
              <a:t> </a:t>
            </a:r>
            <a:r>
              <a:rPr lang="cs-CZ" dirty="0" err="1"/>
              <a:t>Kluwer</a:t>
            </a:r>
            <a:r>
              <a:rPr lang="cs-CZ" dirty="0"/>
              <a:t>, 2015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cs-CZ" dirty="0"/>
              <a:t>Berdych, M.: Financování akvizic v právním řádu, Ostrava, </a:t>
            </a:r>
            <a:r>
              <a:rPr lang="cs-CZ" dirty="0" err="1"/>
              <a:t>Key</a:t>
            </a:r>
            <a:r>
              <a:rPr lang="cs-CZ" dirty="0"/>
              <a:t> </a:t>
            </a:r>
            <a:r>
              <a:rPr lang="cs-CZ" dirty="0" err="1"/>
              <a:t>Publishing</a:t>
            </a:r>
            <a:r>
              <a:rPr lang="cs-CZ" dirty="0"/>
              <a:t>, 2009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cs-CZ" dirty="0"/>
              <a:t>Petrov, Výtisk, Beran a kol.: Občanský zákoník: komentář, Praha: C.H. Beck, 2017 - ČÁST ČTVRTÁ, Hlava I, II, III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cs-CZ" dirty="0" err="1"/>
              <a:t>Gyárfáš</a:t>
            </a:r>
            <a:r>
              <a:rPr lang="cs-CZ" dirty="0"/>
              <a:t>, </a:t>
            </a:r>
            <a:r>
              <a:rPr lang="cs-CZ" dirty="0" err="1"/>
              <a:t>Matulníková</a:t>
            </a:r>
            <a:r>
              <a:rPr lang="cs-CZ" dirty="0"/>
              <a:t>, </a:t>
            </a:r>
            <a:r>
              <a:rPr lang="cs-CZ" dirty="0" err="1"/>
              <a:t>Vavrák</a:t>
            </a:r>
            <a:r>
              <a:rPr lang="cs-CZ" dirty="0"/>
              <a:t>: M&amp;A na Slovensku, Bratislava: C.H. Beck, 2019</a:t>
            </a:r>
          </a:p>
        </p:txBody>
      </p:sp>
    </p:spTree>
    <p:extLst>
      <p:ext uri="{BB962C8B-B14F-4D97-AF65-F5344CB8AC3E}">
        <p14:creationId xmlns:p14="http://schemas.microsoft.com/office/powerpoint/2010/main" val="2801294958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/>
              <a:t>O</a:t>
            </a:r>
            <a:r>
              <a:rPr lang="cs-CZ" b="1" dirty="0"/>
              <a:t>rganizace předmětu</a:t>
            </a:r>
            <a:r>
              <a:rPr lang="cs-CZ" sz="1900" b="1" dirty="0"/>
              <a:t> – prameny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sz="1400" b="1" dirty="0"/>
              <a:t>Právní prameny</a:t>
            </a:r>
          </a:p>
          <a:p>
            <a:pPr marL="351450" lvl="1" indent="-171450">
              <a:spcAft>
                <a:spcPts val="600"/>
              </a:spcAft>
            </a:pPr>
            <a:r>
              <a:rPr lang="cs-CZ" sz="1150" dirty="0"/>
              <a:t>Zákon č. 89/2012 Sb., občanský zákoník</a:t>
            </a:r>
          </a:p>
          <a:p>
            <a:pPr marL="351450" lvl="1" indent="-171450">
              <a:spcAft>
                <a:spcPts val="600"/>
              </a:spcAft>
            </a:pPr>
            <a:r>
              <a:rPr lang="cs-CZ" sz="1150" dirty="0"/>
              <a:t>Zákon č. 90/2012 Sb., o obchodních společnostech a družstvech (zákon o obchodních korporacích)</a:t>
            </a:r>
          </a:p>
          <a:p>
            <a:pPr marL="351450" lvl="1" indent="-171450">
              <a:spcAft>
                <a:spcPts val="600"/>
              </a:spcAft>
            </a:pPr>
            <a:r>
              <a:rPr lang="cs-CZ" sz="1150" dirty="0"/>
              <a:t>Zákon č. 125/2008 Sb., o přeměnách obchodních společností a družstev</a:t>
            </a:r>
          </a:p>
          <a:p>
            <a:pPr marL="351450" lvl="1" indent="-171450">
              <a:spcAft>
                <a:spcPts val="600"/>
              </a:spcAft>
            </a:pPr>
            <a:r>
              <a:rPr lang="cs-CZ" sz="1150" dirty="0"/>
              <a:t>Zákon č. 143/2001 Sb., o ochraně hospodářské soutěže a o změně některých zákonů (zákon o ochraně hospodářské soutěže)</a:t>
            </a:r>
          </a:p>
          <a:p>
            <a:pPr>
              <a:spcAft>
                <a:spcPts val="600"/>
              </a:spcAft>
            </a:pPr>
            <a:r>
              <a:rPr lang="cs-CZ" sz="1400" b="1" dirty="0"/>
              <a:t>Další studijní materiály: </a:t>
            </a:r>
          </a:p>
          <a:p>
            <a:pPr marL="351450" lvl="1" indent="-171450">
              <a:spcAft>
                <a:spcPts val="600"/>
              </a:spcAft>
            </a:pPr>
            <a:r>
              <a:rPr lang="cs-CZ" sz="1150" dirty="0"/>
              <a:t>Deloitte M&amp;A Port - A </a:t>
            </a:r>
            <a:r>
              <a:rPr lang="cs-CZ" sz="1150" dirty="0" err="1"/>
              <a:t>guide</a:t>
            </a:r>
            <a:r>
              <a:rPr lang="cs-CZ" sz="1150" dirty="0"/>
              <a:t> to </a:t>
            </a:r>
            <a:r>
              <a:rPr lang="cs-CZ" sz="1150" dirty="0" err="1"/>
              <a:t>the</a:t>
            </a:r>
            <a:r>
              <a:rPr lang="cs-CZ" sz="1150" dirty="0"/>
              <a:t> </a:t>
            </a:r>
            <a:r>
              <a:rPr lang="cs-CZ" sz="1150" dirty="0" err="1"/>
              <a:t>world</a:t>
            </a:r>
            <a:r>
              <a:rPr lang="cs-CZ" sz="1150" dirty="0"/>
              <a:t> of </a:t>
            </a:r>
            <a:r>
              <a:rPr lang="cs-CZ" sz="1150" dirty="0" err="1"/>
              <a:t>mergers</a:t>
            </a:r>
            <a:r>
              <a:rPr lang="cs-CZ" sz="1150" dirty="0"/>
              <a:t> and </a:t>
            </a:r>
            <a:r>
              <a:rPr lang="cs-CZ" sz="1150" dirty="0" err="1"/>
              <a:t>acquisitions</a:t>
            </a:r>
            <a:r>
              <a:rPr lang="cs-CZ" sz="1150" dirty="0"/>
              <a:t>: </a:t>
            </a:r>
            <a:r>
              <a:rPr lang="cs-CZ" sz="1150" dirty="0">
                <a:hlinkClick r:id="rId2"/>
              </a:rPr>
              <a:t>https://www.mnaport.com/</a:t>
            </a:r>
            <a:r>
              <a:rPr lang="cs-CZ" sz="1150" dirty="0"/>
              <a:t> </a:t>
            </a:r>
          </a:p>
          <a:p>
            <a:pPr marL="351450" lvl="1" indent="-171450">
              <a:spcAft>
                <a:spcPts val="600"/>
              </a:spcAft>
            </a:pPr>
            <a:r>
              <a:rPr lang="cs-CZ" sz="1150" dirty="0"/>
              <a:t>International Bar </a:t>
            </a:r>
            <a:r>
              <a:rPr lang="cs-CZ" sz="1150" dirty="0" err="1"/>
              <a:t>Association</a:t>
            </a:r>
            <a:r>
              <a:rPr lang="cs-CZ" sz="1150" dirty="0"/>
              <a:t> / Corporate and M&amp;A Law </a:t>
            </a:r>
            <a:r>
              <a:rPr lang="cs-CZ" sz="1150" dirty="0" err="1"/>
              <a:t>Committee</a:t>
            </a:r>
            <a:r>
              <a:rPr lang="cs-CZ" sz="1150" dirty="0"/>
              <a:t> </a:t>
            </a:r>
            <a:r>
              <a:rPr lang="cs-CZ" sz="1150" dirty="0" err="1"/>
              <a:t>Negotiated</a:t>
            </a:r>
            <a:r>
              <a:rPr lang="cs-CZ" sz="1150" dirty="0"/>
              <a:t> M&amp;A </a:t>
            </a:r>
            <a:r>
              <a:rPr lang="cs-CZ" sz="1150" dirty="0" err="1"/>
              <a:t>Guides</a:t>
            </a:r>
            <a:r>
              <a:rPr lang="cs-CZ" sz="1150" dirty="0"/>
              <a:t> 2017: </a:t>
            </a:r>
            <a:r>
              <a:rPr lang="cs-CZ" sz="1150" dirty="0">
                <a:hlinkClick r:id="rId3"/>
              </a:rPr>
              <a:t>https://www.ibanet.org/Article/NewDetail.aspx?ArticleUid=77F93863-0705-4FC2-99A2-893276316811</a:t>
            </a:r>
            <a:r>
              <a:rPr lang="cs-CZ" sz="1150" dirty="0"/>
              <a:t> </a:t>
            </a:r>
          </a:p>
          <a:p>
            <a:pPr marL="351450" lvl="1" indent="-171450">
              <a:spcAft>
                <a:spcPts val="600"/>
              </a:spcAft>
            </a:pPr>
            <a:r>
              <a:rPr lang="cs-CZ" sz="1150" dirty="0"/>
              <a:t>TRUMPEŠ, Jiří. Vybrané ekonomické a právní aspekty fúzí a akvizic v České republice [online]. 2019 [cit. 2020-03-16]. Dostupné z: </a:t>
            </a:r>
            <a:r>
              <a:rPr lang="cs-CZ" sz="1150" dirty="0">
                <a:hlinkClick r:id="rId4"/>
              </a:rPr>
              <a:t>https://is.cuni.cz/</a:t>
            </a:r>
            <a:r>
              <a:rPr lang="cs-CZ" sz="1150" dirty="0" err="1">
                <a:hlinkClick r:id="rId4"/>
              </a:rPr>
              <a:t>webapps</a:t>
            </a:r>
            <a:r>
              <a:rPr lang="cs-CZ" sz="1150" dirty="0">
                <a:hlinkClick r:id="rId4"/>
              </a:rPr>
              <a:t>/</a:t>
            </a:r>
            <a:r>
              <a:rPr lang="cs-CZ" sz="1150" dirty="0" err="1">
                <a:hlinkClick r:id="rId4"/>
              </a:rPr>
              <a:t>zzp</a:t>
            </a:r>
            <a:r>
              <a:rPr lang="cs-CZ" sz="1150" dirty="0">
                <a:hlinkClick r:id="rId4"/>
              </a:rPr>
              <a:t>/detail/192031</a:t>
            </a:r>
            <a:r>
              <a:rPr lang="cs-CZ" sz="1150" dirty="0"/>
              <a:t>.  Vedoucí práce Ilona Bažantová.</a:t>
            </a:r>
          </a:p>
          <a:p>
            <a:pPr marL="351450" lvl="1" indent="-171450">
              <a:spcAft>
                <a:spcPts val="600"/>
              </a:spcAft>
            </a:pPr>
            <a:r>
              <a:rPr lang="cs-CZ" sz="1150" dirty="0"/>
              <a:t>SPINA, Filip. Ekonomicko-právní aspekty fúzí a akvizic v českém prostředí [online]. 2012 [cit. 2020-03-16]. Dostupné z: </a:t>
            </a:r>
            <a:r>
              <a:rPr lang="cs-CZ" sz="1150" dirty="0">
                <a:hlinkClick r:id="rId5"/>
              </a:rPr>
              <a:t>https://is.cuni.cz/</a:t>
            </a:r>
            <a:r>
              <a:rPr lang="cs-CZ" sz="1150" dirty="0" err="1">
                <a:hlinkClick r:id="rId5"/>
              </a:rPr>
              <a:t>webapps</a:t>
            </a:r>
            <a:r>
              <a:rPr lang="cs-CZ" sz="1150" dirty="0">
                <a:hlinkClick r:id="rId5"/>
              </a:rPr>
              <a:t>/</a:t>
            </a:r>
            <a:r>
              <a:rPr lang="cs-CZ" sz="1150" dirty="0" err="1">
                <a:hlinkClick r:id="rId5"/>
              </a:rPr>
              <a:t>zzp</a:t>
            </a:r>
            <a:r>
              <a:rPr lang="cs-CZ" sz="1150" dirty="0">
                <a:hlinkClick r:id="rId5"/>
              </a:rPr>
              <a:t>/detail/104667</a:t>
            </a:r>
            <a:r>
              <a:rPr lang="cs-CZ" sz="1150" dirty="0"/>
              <a:t>. Vedoucí práce Aleš Borkovec.</a:t>
            </a:r>
          </a:p>
          <a:p>
            <a:pPr marL="351450" lvl="1" indent="-171450">
              <a:spcAft>
                <a:spcPts val="600"/>
              </a:spcAft>
            </a:pPr>
            <a:r>
              <a:rPr lang="cs-CZ" sz="1150" dirty="0"/>
              <a:t>Materiály z přednášek</a:t>
            </a:r>
          </a:p>
          <a:p>
            <a:pPr lvl="1" indent="0">
              <a:spcAft>
                <a:spcPts val="600"/>
              </a:spcAft>
              <a:buNone/>
            </a:pPr>
            <a:endParaRPr lang="cs-CZ" dirty="0"/>
          </a:p>
          <a:p>
            <a:pPr marL="359388" lvl="1" indent="-179388"/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085836737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/>
              <a:t>Úvodní seminář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spcBef>
                <a:spcPts val="60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cs-CZ" sz="1800" dirty="0"/>
              <a:t>Úvod do M&amp;A</a:t>
            </a:r>
          </a:p>
          <a:p>
            <a:pPr marL="342900" indent="-342900">
              <a:spcBef>
                <a:spcPts val="60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cs-CZ" sz="1800" dirty="0"/>
              <a:t>Motivace v M&amp;A</a:t>
            </a:r>
          </a:p>
          <a:p>
            <a:pPr marL="342900" indent="-342900">
              <a:spcBef>
                <a:spcPts val="60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cs-CZ" sz="1800" dirty="0"/>
              <a:t>M&amp;A transakce</a:t>
            </a:r>
          </a:p>
          <a:p>
            <a:pPr marL="342900" indent="-342900">
              <a:spcBef>
                <a:spcPts val="60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cs-CZ" sz="1800" dirty="0"/>
              <a:t>M&amp;A proces</a:t>
            </a:r>
          </a:p>
          <a:p>
            <a:pPr marL="342900" indent="-342900">
              <a:spcBef>
                <a:spcPts val="60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cs-CZ" sz="1800" dirty="0"/>
              <a:t>Závěr a zadání případové studie</a:t>
            </a:r>
          </a:p>
        </p:txBody>
      </p:sp>
    </p:spTree>
    <p:extLst>
      <p:ext uri="{BB962C8B-B14F-4D97-AF65-F5344CB8AC3E}">
        <p14:creationId xmlns:p14="http://schemas.microsoft.com/office/powerpoint/2010/main" val="149038366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Deloitte Presentation Template 2016 ENG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Blank.potx" id="{DA158067-1960-46D9-B252-698D885A9AF2}" vid="{BB210AEC-30C4-4D33-A9D7-92281B8595B6}"/>
    </a:ext>
  </a:extLst>
</a:theme>
</file>

<file path=ppt/theme/theme2.xml><?xml version="1.0" encoding="utf-8"?>
<a:theme xmlns:a="http://schemas.openxmlformats.org/drawingml/2006/main" name="1_Deloitte Presentation Template 2016 CZE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Blank.potx" id="{DA158067-1960-46D9-B252-698D885A9AF2}" vid="{7E8ADBEA-8125-4DC2-8F4A-7EC1901D8510}"/>
    </a:ext>
  </a:extLst>
</a:theme>
</file>

<file path=ppt/theme/theme3.xml><?xml version="1.0" encoding="utf-8"?>
<a:theme xmlns:a="http://schemas.openxmlformats.org/drawingml/2006/main" name="2_Deloitte Presentation Template 2016 ENG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Blank.potx" id="{AA466677-0B70-4394-B835-6CA7B7CDD7F2}" vid="{26659DEE-6644-4940-8E86-154061B6F50C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Deloitte colors">
    <a:dk1>
      <a:sysClr val="windowText" lastClr="000000"/>
    </a:dk1>
    <a:lt1>
      <a:sysClr val="window" lastClr="FFFFFF"/>
    </a:lt1>
    <a:dk2>
      <a:srgbClr val="53565A"/>
    </a:dk2>
    <a:lt2>
      <a:srgbClr val="D0D0CE"/>
    </a:lt2>
    <a:accent1>
      <a:srgbClr val="86BC25"/>
    </a:accent1>
    <a:accent2>
      <a:srgbClr val="046A38"/>
    </a:accent2>
    <a:accent3>
      <a:srgbClr val="62B5E5"/>
    </a:accent3>
    <a:accent4>
      <a:srgbClr val="012169"/>
    </a:accent4>
    <a:accent5>
      <a:srgbClr val="0097A9"/>
    </a:accent5>
    <a:accent6>
      <a:srgbClr val="75787B"/>
    </a:accent6>
    <a:hlink>
      <a:srgbClr val="00A3E0"/>
    </a:hlink>
    <a:folHlink>
      <a:srgbClr val="53565A"/>
    </a:folHlink>
  </a:clrScheme>
</a:themeOverride>
</file>

<file path=ppt/theme/themeOverride2.xml><?xml version="1.0" encoding="utf-8"?>
<a:themeOverride xmlns:a="http://schemas.openxmlformats.org/drawingml/2006/main">
  <a:clrScheme name="Deloitte colors">
    <a:dk1>
      <a:sysClr val="windowText" lastClr="000000"/>
    </a:dk1>
    <a:lt1>
      <a:sysClr val="window" lastClr="FFFFFF"/>
    </a:lt1>
    <a:dk2>
      <a:srgbClr val="53565A"/>
    </a:dk2>
    <a:lt2>
      <a:srgbClr val="D0D0CE"/>
    </a:lt2>
    <a:accent1>
      <a:srgbClr val="86BC25"/>
    </a:accent1>
    <a:accent2>
      <a:srgbClr val="046A38"/>
    </a:accent2>
    <a:accent3>
      <a:srgbClr val="62B5E5"/>
    </a:accent3>
    <a:accent4>
      <a:srgbClr val="012169"/>
    </a:accent4>
    <a:accent5>
      <a:srgbClr val="0097A9"/>
    </a:accent5>
    <a:accent6>
      <a:srgbClr val="75787B"/>
    </a:accent6>
    <a:hlink>
      <a:srgbClr val="00A3E0"/>
    </a:hlink>
    <a:folHlink>
      <a:srgbClr val="53565A"/>
    </a:folHlink>
  </a:clrScheme>
</a:themeOverride>
</file>

<file path=ppt/theme/themeOverride3.xml><?xml version="1.0" encoding="utf-8"?>
<a:themeOverride xmlns:a="http://schemas.openxmlformats.org/drawingml/2006/main">
  <a:clrScheme name="Deloitte colors">
    <a:dk1>
      <a:sysClr val="windowText" lastClr="000000"/>
    </a:dk1>
    <a:lt1>
      <a:sysClr val="window" lastClr="FFFFFF"/>
    </a:lt1>
    <a:dk2>
      <a:srgbClr val="53565A"/>
    </a:dk2>
    <a:lt2>
      <a:srgbClr val="D0D0CE"/>
    </a:lt2>
    <a:accent1>
      <a:srgbClr val="86BC25"/>
    </a:accent1>
    <a:accent2>
      <a:srgbClr val="046A38"/>
    </a:accent2>
    <a:accent3>
      <a:srgbClr val="62B5E5"/>
    </a:accent3>
    <a:accent4>
      <a:srgbClr val="012169"/>
    </a:accent4>
    <a:accent5>
      <a:srgbClr val="0097A9"/>
    </a:accent5>
    <a:accent6>
      <a:srgbClr val="75787B"/>
    </a:accent6>
    <a:hlink>
      <a:srgbClr val="00A3E0"/>
    </a:hlink>
    <a:folHlink>
      <a:srgbClr val="53565A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3839E2485F14849BF17EAC021F2B0AB" ma:contentTypeVersion="9" ma:contentTypeDescription="Create a new document." ma:contentTypeScope="" ma:versionID="b13d3d8e0865196c6e5f8615a6f6817e">
  <xsd:schema xmlns:xsd="http://www.w3.org/2001/XMLSchema" xmlns:xs="http://www.w3.org/2001/XMLSchema" xmlns:p="http://schemas.microsoft.com/office/2006/metadata/properties" xmlns:ns2="773eaad9-340a-4574-907e-8d7109ca9488" xmlns:ns3="abcf9ee2-6e93-4c65-873a-c2359e6dbfb2" targetNamespace="http://schemas.microsoft.com/office/2006/metadata/properties" ma:root="true" ma:fieldsID="ce39ee399f4f89ce4e3f855741260029" ns2:_="" ns3:_="">
    <xsd:import namespace="773eaad9-340a-4574-907e-8d7109ca9488"/>
    <xsd:import namespace="abcf9ee2-6e93-4c65-873a-c2359e6dbfb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73eaad9-340a-4574-907e-8d7109ca948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cf9ee2-6e93-4c65-873a-c2359e6dbfb2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E8BABDD-D204-43E5-ABE2-92F7DE3017EF}">
  <ds:schemaRefs>
    <ds:schemaRef ds:uri="http://schemas.microsoft.com/office/2006/metadata/properties"/>
    <ds:schemaRef ds:uri="http://purl.org/dc/elements/1.1/"/>
    <ds:schemaRef ds:uri="http://schemas.openxmlformats.org/package/2006/metadata/core-properties"/>
    <ds:schemaRef ds:uri="http://purl.org/dc/terms/"/>
    <ds:schemaRef ds:uri="http://purl.org/dc/dcmitype/"/>
    <ds:schemaRef ds:uri="http://schemas.microsoft.com/office/infopath/2007/PartnerControls"/>
    <ds:schemaRef ds:uri="http://schemas.microsoft.com/office/2006/documentManagement/types"/>
    <ds:schemaRef ds:uri="1da652c3-824c-4925-9d76-00eb64121a26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FB5F749A-0D62-44A0-B92C-5788FBC8301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B49AB38-78DD-4A4E-8A10-7DAED8D9932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73eaad9-340a-4574-907e-8d7109ca9488"/>
    <ds:schemaRef ds:uri="abcf9ee2-6e93-4c65-873a-c2359e6dbfb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593</TotalTime>
  <Words>2236</Words>
  <Application>Microsoft Office PowerPoint</Application>
  <PresentationFormat>Předvádění na obrazovce (4:3)</PresentationFormat>
  <Paragraphs>283</Paragraphs>
  <Slides>33</Slides>
  <Notes>1</Notes>
  <HiddenSlides>0</HiddenSlides>
  <MMClips>0</MMClips>
  <ScaleCrop>false</ScaleCrop>
  <HeadingPairs>
    <vt:vector size="8" baseType="variant">
      <vt:variant>
        <vt:lpstr>Použitá písma</vt:lpstr>
      </vt:variant>
      <vt:variant>
        <vt:i4>4</vt:i4>
      </vt:variant>
      <vt:variant>
        <vt:lpstr>Motiv</vt:lpstr>
      </vt:variant>
      <vt:variant>
        <vt:i4>3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33</vt:i4>
      </vt:variant>
    </vt:vector>
  </HeadingPairs>
  <TitlesOfParts>
    <vt:vector size="41" baseType="lpstr">
      <vt:lpstr>Arial</vt:lpstr>
      <vt:lpstr>Calibri</vt:lpstr>
      <vt:lpstr>Verdana</vt:lpstr>
      <vt:lpstr>Wingdings 2</vt:lpstr>
      <vt:lpstr>1_Deloitte Presentation Template 2016 ENG</vt:lpstr>
      <vt:lpstr>1_Deloitte Presentation Template 2016 CZE</vt:lpstr>
      <vt:lpstr>2_Deloitte Presentation Template 2016 ENG</vt:lpstr>
      <vt:lpstr>think-cell Slide</vt:lpstr>
      <vt:lpstr>Prezentace aplikace PowerPoint</vt:lpstr>
      <vt:lpstr>Organizace předmětu</vt:lpstr>
      <vt:lpstr>Organizace předmětu  -  úvod</vt:lpstr>
      <vt:lpstr>Organizace předmětu  -  přednášející</vt:lpstr>
      <vt:lpstr>Organizace předmětu – rozvrh</vt:lpstr>
      <vt:lpstr>Organizace předmětu – podmínky zápočtu</vt:lpstr>
      <vt:lpstr>Organizace předmětu – prameny </vt:lpstr>
      <vt:lpstr>Organizace předmětu – prameny </vt:lpstr>
      <vt:lpstr>Úvodní seminář</vt:lpstr>
      <vt:lpstr>1. Úvod do M&amp;A</vt:lpstr>
      <vt:lpstr>Co je M&amp;A  –  transakce v médiích</vt:lpstr>
      <vt:lpstr>Co je M&amp;A  –  transakce v médiích</vt:lpstr>
      <vt:lpstr>Co je M&amp;A  –  transakce v médiích</vt:lpstr>
      <vt:lpstr>Co je M&amp;A  –  transakce v médiích</vt:lpstr>
      <vt:lpstr>Co je M&amp;A</vt:lpstr>
      <vt:lpstr>Pojmy v M&amp;A</vt:lpstr>
      <vt:lpstr>Pojmy v M&amp;A</vt:lpstr>
      <vt:lpstr>Subjekty v M&amp;A</vt:lpstr>
      <vt:lpstr>M&amp;A transakční struktury</vt:lpstr>
      <vt:lpstr>2. Motivace v M&amp;A</vt:lpstr>
      <vt:lpstr>Motivace pro prodávající </vt:lpstr>
      <vt:lpstr>Motivace pro kupující </vt:lpstr>
      <vt:lpstr>Strategický nebo finanční investor</vt:lpstr>
      <vt:lpstr>Private Equity</vt:lpstr>
      <vt:lpstr>3. M&amp;A problematické transakce</vt:lpstr>
      <vt:lpstr>M&amp;A ve světě – problematické transakce</vt:lpstr>
      <vt:lpstr>4. M&amp;A proces</vt:lpstr>
      <vt:lpstr>Průběh M&amp;A transakce</vt:lpstr>
      <vt:lpstr>Průběh M&amp;A transakce</vt:lpstr>
      <vt:lpstr>Oceňování společností</vt:lpstr>
      <vt:lpstr>Prezentace aplikace PowerPoint</vt:lpstr>
      <vt:lpstr>Zadání samostatné práce</vt:lpstr>
      <vt:lpstr>Děkujeme za pozornost.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uchy, Petr (CZ - Prague)</dc:creator>
  <cp:lastModifiedBy>Ivan Telecky</cp:lastModifiedBy>
  <cp:revision>230</cp:revision>
  <cp:lastPrinted>2020-02-18T10:42:39Z</cp:lastPrinted>
  <dcterms:created xsi:type="dcterms:W3CDTF">2018-03-10T11:01:20Z</dcterms:created>
  <dcterms:modified xsi:type="dcterms:W3CDTF">2023-10-04T11:01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3839E2485F14849BF17EAC021F2B0AB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2-02-20T11:17:25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8fdecb98-3fab-462a-9238-a1069101f2a2</vt:lpwstr>
  </property>
  <property fmtid="{D5CDD505-2E9C-101B-9397-08002B2CF9AE}" pid="9" name="MSIP_Label_ea60d57e-af5b-4752-ac57-3e4f28ca11dc_ContentBits">
    <vt:lpwstr>0</vt:lpwstr>
  </property>
</Properties>
</file>